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6"/>
  </p:notesMasterIdLst>
  <p:sldIdLst>
    <p:sldId id="351" r:id="rId5"/>
    <p:sldId id="269" r:id="rId6"/>
    <p:sldId id="271" r:id="rId7"/>
    <p:sldId id="262" r:id="rId8"/>
    <p:sldId id="259" r:id="rId9"/>
    <p:sldId id="263" r:id="rId10"/>
    <p:sldId id="352" r:id="rId11"/>
    <p:sldId id="2147138331" r:id="rId12"/>
    <p:sldId id="2147138189" r:id="rId13"/>
    <p:sldId id="2147138337" r:id="rId14"/>
    <p:sldId id="2147471391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1F3"/>
    <a:srgbClr val="FFFFFF"/>
    <a:srgbClr val="00EB81"/>
    <a:srgbClr val="E6DCFF"/>
    <a:srgbClr val="0041F0"/>
    <a:srgbClr val="DCAFFF"/>
    <a:srgbClr val="FF50A0"/>
    <a:srgbClr val="FF3246"/>
    <a:srgbClr val="00FFFF"/>
    <a:srgbClr val="D4D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715" autoAdjust="0"/>
    <p:restoredTop sz="96327" autoAdjust="0"/>
  </p:normalViewPr>
  <p:slideViewPr>
    <p:cSldViewPr snapToGrid="0" showGuides="1">
      <p:cViewPr varScale="1">
        <p:scale>
          <a:sx n="119" d="100"/>
          <a:sy n="119" d="100"/>
        </p:scale>
        <p:origin x="560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4/19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Arial" panose="020B0604020202020204" pitchFamily="34" charset="0"/>
      <a:buChar char="•"/>
      <a:defRPr sz="1000">
        <a:latin typeface="+mn-lt"/>
      </a:defRPr>
    </a:lvl2pPr>
    <a:lvl3pPr marL="342900" indent="-112713" algn="l">
      <a:buFont typeface="Arial" panose="020B0604020202020204" pitchFamily="34" charset="0"/>
      <a:buChar char="•"/>
      <a:defRPr sz="900">
        <a:latin typeface="+mn-lt"/>
      </a:defRPr>
    </a:lvl3pPr>
    <a:lvl4pPr marL="460375" indent="-112713" algn="l">
      <a:buFont typeface="Arial" panose="020B0604020202020204" pitchFamily="34" charset="0"/>
      <a:buChar char="•"/>
      <a:defRPr sz="800">
        <a:latin typeface="+mn-lt"/>
      </a:defRPr>
    </a:lvl4pPr>
    <a:lvl5pPr marL="571500" indent="-112713" algn="l">
      <a:buFont typeface="Arial" panose="020B0604020202020204" pitchFamily="34" charset="0"/>
      <a:buChar char="•"/>
      <a:defRPr sz="800">
        <a:latin typeface="+mn-lt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7078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r>
              <a:rPr lang="it-IT"/>
              <a:t>Sostenibile perché non crea job che non sono applicati, è integrato con altri processi,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D07078-1CA5-45AF-96A5-9733F02C7C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20543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fld id="{BAD07078-1CA5-45AF-96A5-9733F02C7CE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798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C84088-6BBD-44C7-9A05-2B1A4AB59F73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82668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Aft>
                <a:spcPts val="1200"/>
              </a:spcAft>
              <a:buClrTx/>
              <a:buSzTx/>
              <a:tabLst/>
              <a:defRPr/>
            </a:pPr>
            <a:r>
              <a:rPr lang="it-IT" sz="1100" b="0" kern="0"/>
              <a:t>How do </a:t>
            </a:r>
            <a:r>
              <a:rPr lang="it-IT" sz="1100" b="0" kern="0" err="1"/>
              <a:t>you</a:t>
            </a:r>
            <a:r>
              <a:rPr lang="it-IT" sz="1100" b="0" kern="0"/>
              <a:t> build digital </a:t>
            </a:r>
            <a:r>
              <a:rPr lang="it-IT" sz="1100" b="0" kern="0" err="1"/>
              <a:t>fluency</a:t>
            </a:r>
            <a:r>
              <a:rPr lang="it-IT" sz="1100" b="0" kern="0"/>
              <a:t>?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Aft>
                <a:spcPts val="1200"/>
              </a:spcAft>
              <a:buClrTx/>
              <a:buSzTx/>
              <a:tabLst/>
              <a:defRPr/>
            </a:pPr>
            <a:r>
              <a:rPr lang="it-IT" sz="1100" b="0" kern="0"/>
              <a:t>Technology </a:t>
            </a:r>
            <a:r>
              <a:rPr lang="it-IT" sz="1100" b="0" kern="0" err="1"/>
              <a:t>Quotient</a:t>
            </a:r>
            <a:r>
              <a:rPr lang="it-IT" sz="1100" b="0" kern="0"/>
              <a:t> (TQ) </a:t>
            </a:r>
            <a:r>
              <a:rPr lang="it-IT" sz="1100" b="0" kern="0" err="1"/>
              <a:t>is</a:t>
            </a:r>
            <a:r>
              <a:rPr lang="it-IT" sz="1100" b="0" kern="0"/>
              <a:t> a learning </a:t>
            </a:r>
            <a:r>
              <a:rPr lang="it-IT" sz="1100" b="0" kern="0" err="1"/>
              <a:t>program</a:t>
            </a:r>
            <a:r>
              <a:rPr lang="it-IT" sz="1100" b="0" kern="0"/>
              <a:t> </a:t>
            </a:r>
            <a:r>
              <a:rPr lang="it-IT" sz="1100" b="0" kern="0" err="1"/>
              <a:t>which</a:t>
            </a:r>
            <a:r>
              <a:rPr lang="it-IT" sz="1100" b="0" kern="0"/>
              <a:t> </a:t>
            </a:r>
            <a:r>
              <a:rPr lang="it-IT" sz="1100" b="0" kern="0" err="1"/>
              <a:t>provides</a:t>
            </a:r>
            <a:r>
              <a:rPr lang="it-IT" sz="1100" b="0" kern="0"/>
              <a:t> a </a:t>
            </a:r>
            <a:r>
              <a:rPr lang="it-IT" sz="1100" b="0" kern="0" err="1"/>
              <a:t>simple</a:t>
            </a:r>
            <a:r>
              <a:rPr lang="it-IT" sz="1100" b="0" kern="0"/>
              <a:t> way to </a:t>
            </a:r>
            <a:r>
              <a:rPr lang="it-IT" sz="1100" b="0" kern="0" err="1"/>
              <a:t>learn</a:t>
            </a:r>
            <a:r>
              <a:rPr lang="it-IT" sz="1100" b="0" kern="0"/>
              <a:t> </a:t>
            </a:r>
            <a:r>
              <a:rPr lang="it-IT" sz="1100" b="0" kern="0" err="1"/>
              <a:t>about</a:t>
            </a:r>
            <a:r>
              <a:rPr lang="it-IT" sz="1100" b="0" kern="0"/>
              <a:t> </a:t>
            </a:r>
            <a:r>
              <a:rPr lang="it-IT" sz="1100" b="0" kern="0" err="1"/>
              <a:t>transformative</a:t>
            </a:r>
            <a:r>
              <a:rPr lang="it-IT" sz="1100" b="0" kern="0"/>
              <a:t> digital </a:t>
            </a:r>
            <a:r>
              <a:rPr lang="it-IT" sz="1100" b="0" kern="0" err="1"/>
              <a:t>technologies</a:t>
            </a:r>
            <a:r>
              <a:rPr lang="it-IT" sz="1100" b="0" kern="0"/>
              <a:t>, </a:t>
            </a:r>
            <a:r>
              <a:rPr lang="it-IT" sz="1100" b="0" kern="0" err="1"/>
              <a:t>how</a:t>
            </a:r>
            <a:r>
              <a:rPr lang="it-IT" sz="1100" b="0" kern="0"/>
              <a:t> </a:t>
            </a:r>
            <a:r>
              <a:rPr lang="it-IT" sz="1100" b="0" kern="0" err="1"/>
              <a:t>they</a:t>
            </a:r>
            <a:r>
              <a:rPr lang="it-IT" sz="1100" b="0" kern="0"/>
              <a:t> are </a:t>
            </a:r>
            <a:r>
              <a:rPr lang="it-IT" sz="1100" b="0" kern="0" err="1"/>
              <a:t>applied</a:t>
            </a:r>
            <a:r>
              <a:rPr lang="it-IT" sz="1100" b="0" kern="0"/>
              <a:t>, </a:t>
            </a:r>
            <a:r>
              <a:rPr lang="it-IT" sz="1100" b="0" kern="0" err="1"/>
              <a:t>why</a:t>
            </a:r>
            <a:r>
              <a:rPr lang="it-IT" sz="1100" b="0" kern="0"/>
              <a:t> </a:t>
            </a:r>
            <a:r>
              <a:rPr lang="it-IT" sz="1100" b="0" kern="0" err="1"/>
              <a:t>they</a:t>
            </a:r>
            <a:r>
              <a:rPr lang="it-IT" sz="1100" b="0" kern="0"/>
              <a:t> </a:t>
            </a:r>
            <a:r>
              <a:rPr lang="it-IT" sz="1100" b="0" kern="0" err="1"/>
              <a:t>matter</a:t>
            </a:r>
            <a:r>
              <a:rPr lang="it-IT" sz="1100" b="0" kern="0"/>
              <a:t>.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Aft>
                <a:spcPts val="1200"/>
              </a:spcAft>
              <a:buClrTx/>
              <a:buSzTx/>
              <a:tabLst/>
              <a:defRPr/>
            </a:pP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n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oday’s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world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ere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digital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s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verywhere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,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t’s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not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ough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to just know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bout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the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echnology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,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e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need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lang="it-IT" sz="1100">
                <a:solidFill>
                  <a:srgbClr val="000000"/>
                </a:solidFill>
                <a:latin typeface="Graphik"/>
              </a:rPr>
              <a:t>to be </a:t>
            </a:r>
            <a:r>
              <a:rPr lang="it-IT" sz="1100" err="1">
                <a:solidFill>
                  <a:srgbClr val="000000"/>
                </a:solidFill>
                <a:latin typeface="Graphik"/>
              </a:rPr>
              <a:t>fluent</a:t>
            </a:r>
            <a:r>
              <a:rPr lang="it-IT" sz="1100">
                <a:solidFill>
                  <a:srgbClr val="000000"/>
                </a:solidFill>
                <a:latin typeface="Graphik"/>
              </a:rPr>
              <a:t> in </a:t>
            </a:r>
            <a:r>
              <a:rPr lang="it-IT" sz="1100" err="1">
                <a:solidFill>
                  <a:srgbClr val="000000"/>
                </a:solidFill>
                <a:latin typeface="Graphik"/>
              </a:rPr>
              <a:t>it</a:t>
            </a:r>
            <a:r>
              <a:rPr lang="it-IT" sz="1100">
                <a:solidFill>
                  <a:srgbClr val="000000"/>
                </a:solidFill>
                <a:latin typeface="Graphik"/>
              </a:rPr>
              <a:t>—and </a:t>
            </a:r>
            <a:r>
              <a:rPr lang="it-IT" sz="1100" err="1">
                <a:solidFill>
                  <a:srgbClr val="000000"/>
                </a:solidFill>
                <a:latin typeface="Graphik"/>
              </a:rPr>
              <a:t>understand</a:t>
            </a:r>
            <a:r>
              <a:rPr lang="it-IT" sz="1100">
                <a:solidFill>
                  <a:srgbClr val="000000"/>
                </a:solidFill>
                <a:latin typeface="Graphik"/>
              </a:rPr>
              <a:t> </a:t>
            </a:r>
            <a:r>
              <a:rPr lang="it-IT" sz="1100" err="1">
                <a:solidFill>
                  <a:srgbClr val="000000"/>
                </a:solidFill>
                <a:latin typeface="Graphik"/>
              </a:rPr>
              <a:t>how</a:t>
            </a:r>
            <a:r>
              <a:rPr lang="it-IT" sz="1100">
                <a:solidFill>
                  <a:srgbClr val="000000"/>
                </a:solidFill>
                <a:latin typeface="Graphik"/>
              </a:rPr>
              <a:t> to </a:t>
            </a:r>
            <a:r>
              <a:rPr lang="it-IT" sz="1100" err="1">
                <a:solidFill>
                  <a:srgbClr val="000000"/>
                </a:solidFill>
                <a:latin typeface="Graphik"/>
              </a:rPr>
              <a:t>apply</a:t>
            </a:r>
            <a:r>
              <a:rPr lang="it-IT" sz="1100">
                <a:solidFill>
                  <a:srgbClr val="000000"/>
                </a:solidFill>
                <a:latin typeface="Graphik"/>
              </a:rPr>
              <a:t> </a:t>
            </a:r>
            <a:r>
              <a:rPr lang="it-IT" sz="1100" err="1">
                <a:solidFill>
                  <a:srgbClr val="000000"/>
                </a:solidFill>
                <a:latin typeface="Graphik"/>
              </a:rPr>
              <a:t>it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. </a:t>
            </a:r>
            <a:r>
              <a:rPr lang="it-IT" sz="1100">
                <a:solidFill>
                  <a:srgbClr val="000000"/>
                </a:solidFill>
                <a:latin typeface="Graphik"/>
              </a:rPr>
              <a:t>TQ </a:t>
            </a:r>
            <a:r>
              <a:rPr lang="it-IT" sz="1100" err="1">
                <a:solidFill>
                  <a:srgbClr val="000000"/>
                </a:solidFill>
                <a:latin typeface="Graphik"/>
              </a:rPr>
              <a:t>simplifies</a:t>
            </a:r>
            <a:r>
              <a:rPr lang="it-IT" sz="1100">
                <a:solidFill>
                  <a:srgbClr val="000000"/>
                </a:solidFill>
                <a:latin typeface="Graphik"/>
              </a:rPr>
              <a:t> 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he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ost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mplex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echnology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concepts, so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you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can talk with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nyone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bout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ow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hose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concepts are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hanging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the world and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reating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new business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opportunities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. </a:t>
            </a:r>
            <a:endParaRPr lang="it-IT" sz="1100" b="0" kern="0"/>
          </a:p>
          <a:p>
            <a:pPr>
              <a:spcAft>
                <a:spcPts val="1200"/>
              </a:spcAft>
            </a:pPr>
            <a:r>
              <a:rPr lang="it-IT" sz="1100" b="0" err="1"/>
              <a:t>You</a:t>
            </a:r>
            <a:r>
              <a:rPr lang="it-IT" sz="1100" b="0"/>
              <a:t> </a:t>
            </a:r>
            <a:r>
              <a:rPr lang="it-IT" sz="1100" b="0" err="1"/>
              <a:t>don’t</a:t>
            </a:r>
            <a:r>
              <a:rPr lang="it-IT" sz="1100" b="0"/>
              <a:t> </a:t>
            </a:r>
            <a:r>
              <a:rPr lang="it-IT" sz="1100" b="0" err="1"/>
              <a:t>need</a:t>
            </a:r>
            <a:r>
              <a:rPr lang="it-IT" sz="1100" b="0"/>
              <a:t> to </a:t>
            </a:r>
            <a:r>
              <a:rPr lang="it-IT" sz="1100" b="0" err="1"/>
              <a:t>teach</a:t>
            </a:r>
            <a:r>
              <a:rPr lang="it-IT" sz="1100" b="0"/>
              <a:t> </a:t>
            </a:r>
            <a:r>
              <a:rPr lang="it-IT" sz="1100" b="0" err="1"/>
              <a:t>employees</a:t>
            </a:r>
            <a:r>
              <a:rPr lang="it-IT" sz="1100" b="0"/>
              <a:t> </a:t>
            </a:r>
            <a:r>
              <a:rPr lang="it-IT" sz="1100" b="0" err="1"/>
              <a:t>how</a:t>
            </a:r>
            <a:r>
              <a:rPr lang="it-IT" sz="1100" b="0"/>
              <a:t> to </a:t>
            </a:r>
            <a:r>
              <a:rPr lang="it-IT" sz="1100" b="0" err="1"/>
              <a:t>become</a:t>
            </a:r>
            <a:r>
              <a:rPr lang="it-IT" sz="1100" b="0"/>
              <a:t> </a:t>
            </a:r>
            <a:r>
              <a:rPr lang="it-IT" sz="1100" b="0" err="1"/>
              <a:t>expert</a:t>
            </a:r>
            <a:r>
              <a:rPr lang="it-IT" sz="1100" b="0"/>
              <a:t> </a:t>
            </a:r>
            <a:r>
              <a:rPr lang="it-IT" sz="1100" b="0" err="1"/>
              <a:t>coders</a:t>
            </a:r>
            <a:r>
              <a:rPr lang="it-IT" sz="1100" b="0"/>
              <a:t>, </a:t>
            </a:r>
            <a:r>
              <a:rPr lang="it-IT" sz="1100" b="0" err="1"/>
              <a:t>but</a:t>
            </a:r>
            <a:r>
              <a:rPr lang="it-IT" sz="1100" b="0"/>
              <a:t> </a:t>
            </a:r>
            <a:r>
              <a:rPr lang="it-IT" sz="1100" b="0" err="1"/>
              <a:t>you</a:t>
            </a:r>
            <a:r>
              <a:rPr lang="it-IT" sz="1100" b="0"/>
              <a:t> do </a:t>
            </a:r>
            <a:r>
              <a:rPr lang="it-IT" sz="1100" b="0" err="1"/>
              <a:t>need</a:t>
            </a:r>
            <a:r>
              <a:rPr lang="it-IT" sz="1100" b="0"/>
              <a:t> to </a:t>
            </a:r>
            <a:r>
              <a:rPr lang="it-IT" sz="1100" b="0" err="1"/>
              <a:t>train</a:t>
            </a:r>
            <a:r>
              <a:rPr lang="it-IT" sz="1100" b="0"/>
              <a:t> </a:t>
            </a:r>
            <a:r>
              <a:rPr lang="it-IT" sz="1100" b="0" err="1"/>
              <a:t>them</a:t>
            </a:r>
            <a:r>
              <a:rPr lang="it-IT" sz="1100" b="0"/>
              <a:t> to </a:t>
            </a:r>
            <a:r>
              <a:rPr lang="it-IT" sz="1100" b="0" err="1"/>
              <a:t>think</a:t>
            </a:r>
            <a:r>
              <a:rPr lang="it-IT" sz="1100" b="0"/>
              <a:t> like </a:t>
            </a:r>
            <a:r>
              <a:rPr lang="it-IT" sz="1100" b="0" err="1"/>
              <a:t>technologists</a:t>
            </a:r>
            <a:r>
              <a:rPr lang="it-IT" sz="1100" b="0"/>
              <a:t>.  </a:t>
            </a:r>
          </a:p>
          <a:p>
            <a:pPr>
              <a:spcAft>
                <a:spcPts val="1200"/>
              </a:spcAft>
            </a:pPr>
            <a:r>
              <a:rPr lang="it-IT" sz="1100" b="0"/>
              <a:t>With a </a:t>
            </a:r>
            <a:r>
              <a:rPr lang="it-IT" sz="1100" b="0" err="1"/>
              <a:t>stronger</a:t>
            </a:r>
            <a:r>
              <a:rPr lang="it-IT" sz="1100" b="0"/>
              <a:t> TQ, </a:t>
            </a:r>
            <a:r>
              <a:rPr lang="it-IT" sz="1100" b="0" err="1"/>
              <a:t>employees</a:t>
            </a:r>
            <a:r>
              <a:rPr lang="it-IT" sz="1100" b="0"/>
              <a:t> can </a:t>
            </a:r>
            <a:r>
              <a:rPr lang="it-IT" sz="1100" b="0" err="1"/>
              <a:t>all</a:t>
            </a:r>
            <a:r>
              <a:rPr lang="it-IT" sz="1100" b="0"/>
              <a:t> </a:t>
            </a:r>
            <a:r>
              <a:rPr lang="it-IT" sz="1100" b="0" err="1"/>
              <a:t>confidently</a:t>
            </a:r>
            <a:r>
              <a:rPr lang="it-IT" sz="1100" b="0"/>
              <a:t> </a:t>
            </a:r>
            <a:r>
              <a:rPr lang="it-IT" sz="1100" b="0" err="1"/>
              <a:t>engage</a:t>
            </a:r>
            <a:r>
              <a:rPr lang="it-IT" sz="1100" b="0"/>
              <a:t> in </a:t>
            </a:r>
            <a:r>
              <a:rPr lang="it-IT" sz="1100" b="0" err="1"/>
              <a:t>meaningful</a:t>
            </a:r>
            <a:r>
              <a:rPr lang="it-IT" sz="1100" b="0"/>
              <a:t> </a:t>
            </a:r>
            <a:r>
              <a:rPr lang="it-IT" sz="1100" b="0" err="1"/>
              <a:t>conversations</a:t>
            </a:r>
            <a:r>
              <a:rPr lang="it-IT" sz="1100" b="0"/>
              <a:t> </a:t>
            </a:r>
            <a:r>
              <a:rPr lang="it-IT" sz="1100" b="0" err="1"/>
              <a:t>about</a:t>
            </a:r>
            <a:r>
              <a:rPr lang="it-IT" sz="1100" b="0"/>
              <a:t> </a:t>
            </a:r>
            <a:r>
              <a:rPr lang="it-IT" sz="1100" b="0" err="1"/>
              <a:t>technology</a:t>
            </a:r>
            <a:r>
              <a:rPr lang="it-IT" sz="1100" b="0"/>
              <a:t> concepts </a:t>
            </a:r>
            <a:r>
              <a:rPr lang="it-IT" sz="1100" b="0" err="1"/>
              <a:t>that</a:t>
            </a:r>
            <a:r>
              <a:rPr lang="it-IT" sz="1100" b="0"/>
              <a:t> are </a:t>
            </a:r>
            <a:r>
              <a:rPr lang="it-IT" sz="1100" b="0" err="1"/>
              <a:t>changing</a:t>
            </a:r>
            <a:r>
              <a:rPr lang="it-IT" sz="1100" b="0"/>
              <a:t> the world and </a:t>
            </a:r>
            <a:r>
              <a:rPr lang="it-IT" sz="1100" b="0" err="1"/>
              <a:t>creating</a:t>
            </a:r>
            <a:r>
              <a:rPr lang="it-IT" sz="1100" b="0"/>
              <a:t> new business </a:t>
            </a:r>
            <a:r>
              <a:rPr lang="it-IT" sz="1100" b="0" err="1"/>
              <a:t>opportunities</a:t>
            </a:r>
            <a:r>
              <a:rPr lang="it-IT" sz="1100" b="0"/>
              <a:t>.</a:t>
            </a:r>
          </a:p>
          <a:p>
            <a:pPr marL="171450" lvl="4" indent="-171450" algn="l" rtl="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For the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technology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workforce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, TQ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creates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breadth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 to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complement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existing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depth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.</a:t>
            </a:r>
          </a:p>
          <a:p>
            <a:pPr marL="171450" lvl="4" indent="-171450" algn="l" rtl="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For the non-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technology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workforce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, TQ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creates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 the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fluency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 for common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understanding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 and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innovation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across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rPr>
              <a:t> the business.</a:t>
            </a:r>
          </a:p>
          <a:p>
            <a:pPr marL="0" lvl="4" indent="0" algn="l" rtl="0">
              <a:spcAft>
                <a:spcPts val="1200"/>
              </a:spcAft>
              <a:buFont typeface="Arial" panose="020B0604020202020204" pitchFamily="34" charset="0"/>
              <a:buNone/>
            </a:pPr>
            <a:endParaRPr lang="it-IT" sz="1100" kern="1200">
              <a:solidFill>
                <a:schemeClr val="tx1"/>
              </a:solidFill>
              <a:latin typeface="Graphik" panose="020B0503030202060203" pitchFamily="34" charset="0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it-IT" sz="1100" b="1" err="1"/>
              <a:t>What</a:t>
            </a:r>
            <a:r>
              <a:rPr lang="it-IT" sz="1100" b="1"/>
              <a:t> </a:t>
            </a:r>
            <a:r>
              <a:rPr lang="it-IT" sz="1100" b="1" err="1"/>
              <a:t>does</a:t>
            </a:r>
            <a:r>
              <a:rPr lang="it-IT" sz="1100" b="1"/>
              <a:t> TQ </a:t>
            </a:r>
            <a:r>
              <a:rPr lang="it-IT" sz="1100" b="1" err="1"/>
              <a:t>mean</a:t>
            </a:r>
            <a:r>
              <a:rPr lang="it-IT" sz="1100" b="1"/>
              <a:t> for Accenture?</a:t>
            </a:r>
          </a:p>
          <a:p>
            <a:pPr>
              <a:spcAft>
                <a:spcPts val="1200"/>
              </a:spcAft>
            </a:pPr>
            <a:r>
              <a:rPr lang="it-IT" sz="1100"/>
              <a:t>Accenture </a:t>
            </a:r>
            <a:r>
              <a:rPr lang="it-IT" sz="1100" err="1"/>
              <a:t>is</a:t>
            </a:r>
            <a:r>
              <a:rPr lang="it-IT" sz="1100"/>
              <a:t> 12 </a:t>
            </a:r>
            <a:r>
              <a:rPr lang="it-IT" sz="1100" err="1"/>
              <a:t>months</a:t>
            </a:r>
            <a:r>
              <a:rPr lang="it-IT" sz="1100"/>
              <a:t> </a:t>
            </a:r>
            <a:r>
              <a:rPr lang="it-IT" sz="1100" err="1"/>
              <a:t>into</a:t>
            </a:r>
            <a:r>
              <a:rPr lang="it-IT" sz="1100"/>
              <a:t> </a:t>
            </a:r>
            <a:r>
              <a:rPr lang="it-IT" sz="1100" err="1"/>
              <a:t>our</a:t>
            </a:r>
            <a:r>
              <a:rPr lang="it-IT" sz="1100"/>
              <a:t> </a:t>
            </a:r>
            <a:r>
              <a:rPr lang="it-IT" sz="1100" err="1"/>
              <a:t>own</a:t>
            </a:r>
            <a:r>
              <a:rPr lang="it-IT" sz="1100"/>
              <a:t> TQ </a:t>
            </a:r>
            <a:r>
              <a:rPr lang="it-IT" sz="1100" err="1"/>
              <a:t>journey</a:t>
            </a:r>
            <a:r>
              <a:rPr lang="it-IT" sz="1100"/>
              <a:t>.  </a:t>
            </a:r>
            <a:r>
              <a:rPr lang="it-IT" sz="1100" err="1"/>
              <a:t>Accenture’s</a:t>
            </a:r>
            <a:r>
              <a:rPr lang="it-IT" sz="1100"/>
              <a:t> Technology </a:t>
            </a:r>
            <a:r>
              <a:rPr lang="it-IT" sz="1100" err="1"/>
              <a:t>Quotient</a:t>
            </a:r>
            <a:r>
              <a:rPr lang="it-IT" sz="1100"/>
              <a:t> (TQ) </a:t>
            </a:r>
            <a:r>
              <a:rPr lang="it-IT" sz="1100" err="1"/>
              <a:t>program</a:t>
            </a:r>
            <a:r>
              <a:rPr lang="it-IT" sz="1100"/>
              <a:t> </a:t>
            </a:r>
            <a:r>
              <a:rPr lang="it-IT" sz="1100" err="1"/>
              <a:t>is</a:t>
            </a:r>
            <a:r>
              <a:rPr lang="it-IT" sz="1100"/>
              <a:t> a global learning </a:t>
            </a:r>
            <a:r>
              <a:rPr lang="it-IT" sz="1100" err="1"/>
              <a:t>initiative</a:t>
            </a:r>
            <a:r>
              <a:rPr lang="it-IT" sz="1100"/>
              <a:t> to help </a:t>
            </a:r>
            <a:r>
              <a:rPr lang="it-IT" sz="1100" err="1"/>
              <a:t>our</a:t>
            </a:r>
            <a:r>
              <a:rPr lang="it-IT" sz="1100"/>
              <a:t> </a:t>
            </a:r>
            <a:r>
              <a:rPr lang="it-IT" sz="1100" err="1"/>
              <a:t>employees</a:t>
            </a:r>
            <a:r>
              <a:rPr lang="it-IT" sz="1100"/>
              <a:t> </a:t>
            </a:r>
            <a:r>
              <a:rPr lang="it-IT" sz="1100" err="1"/>
              <a:t>become</a:t>
            </a:r>
            <a:r>
              <a:rPr lang="it-IT" sz="1100"/>
              <a:t> more  </a:t>
            </a:r>
            <a:r>
              <a:rPr lang="it-IT" sz="1100" err="1"/>
              <a:t>fluent</a:t>
            </a:r>
            <a:r>
              <a:rPr lang="it-IT" sz="1100"/>
              <a:t> in the </a:t>
            </a:r>
            <a:r>
              <a:rPr lang="it-IT" sz="1100" err="1"/>
              <a:t>technologies</a:t>
            </a:r>
            <a:r>
              <a:rPr lang="it-IT" sz="1100"/>
              <a:t> </a:t>
            </a:r>
            <a:r>
              <a:rPr lang="it-IT" sz="1100" err="1"/>
              <a:t>that</a:t>
            </a:r>
            <a:r>
              <a:rPr lang="it-IT" sz="1100"/>
              <a:t> are </a:t>
            </a:r>
            <a:r>
              <a:rPr lang="it-IT" sz="1100" err="1"/>
              <a:t>changing</a:t>
            </a:r>
            <a:r>
              <a:rPr lang="it-IT" sz="1100"/>
              <a:t> the world in new ways </a:t>
            </a:r>
            <a:r>
              <a:rPr lang="it-IT" sz="1100" err="1"/>
              <a:t>every</a:t>
            </a:r>
            <a:r>
              <a:rPr lang="it-IT" sz="1100"/>
              <a:t> day. The more </a:t>
            </a:r>
            <a:r>
              <a:rPr lang="it-IT" sz="1100" err="1"/>
              <a:t>we</a:t>
            </a:r>
            <a:r>
              <a:rPr lang="it-IT" sz="1100"/>
              <a:t> build </a:t>
            </a:r>
            <a:r>
              <a:rPr lang="it-IT" sz="1100" err="1"/>
              <a:t>our</a:t>
            </a:r>
            <a:r>
              <a:rPr lang="it-IT" sz="1100"/>
              <a:t> TQ, the </a:t>
            </a:r>
            <a:r>
              <a:rPr lang="it-IT" sz="1100" err="1"/>
              <a:t>easier</a:t>
            </a:r>
            <a:r>
              <a:rPr lang="it-IT" sz="1100"/>
              <a:t> </a:t>
            </a:r>
            <a:r>
              <a:rPr lang="it-IT" sz="1100" err="1"/>
              <a:t>it</a:t>
            </a:r>
            <a:r>
              <a:rPr lang="it-IT" sz="1100"/>
              <a:t> </a:t>
            </a:r>
            <a:r>
              <a:rPr lang="it-IT" sz="1100" err="1"/>
              <a:t>will</a:t>
            </a:r>
            <a:r>
              <a:rPr lang="it-IT" sz="1100"/>
              <a:t> be for </a:t>
            </a:r>
            <a:r>
              <a:rPr lang="it-IT" sz="1100" err="1"/>
              <a:t>us</a:t>
            </a:r>
            <a:r>
              <a:rPr lang="it-IT" sz="1100"/>
              <a:t> to </a:t>
            </a:r>
            <a:r>
              <a:rPr lang="it-IT" sz="1100" err="1"/>
              <a:t>speak</a:t>
            </a:r>
            <a:r>
              <a:rPr lang="it-IT" sz="1100"/>
              <a:t> </a:t>
            </a:r>
            <a:r>
              <a:rPr lang="it-IT" sz="1100" err="1"/>
              <a:t>fluently</a:t>
            </a:r>
            <a:r>
              <a:rPr lang="it-IT" sz="1100"/>
              <a:t> </a:t>
            </a:r>
            <a:r>
              <a:rPr lang="it-IT" sz="1100" err="1"/>
              <a:t>about</a:t>
            </a:r>
            <a:r>
              <a:rPr lang="it-IT" sz="1100"/>
              <a:t> tech </a:t>
            </a:r>
            <a:r>
              <a:rPr lang="it-IT" sz="1100" err="1"/>
              <a:t>topics</a:t>
            </a:r>
            <a:r>
              <a:rPr lang="it-IT" sz="1100"/>
              <a:t> and the business </a:t>
            </a:r>
            <a:r>
              <a:rPr lang="it-IT" sz="1100" err="1"/>
              <a:t>value</a:t>
            </a:r>
            <a:r>
              <a:rPr lang="it-IT" sz="1100"/>
              <a:t> </a:t>
            </a:r>
            <a:r>
              <a:rPr lang="it-IT" sz="1100" err="1"/>
              <a:t>they</a:t>
            </a:r>
            <a:r>
              <a:rPr lang="it-IT" sz="1100"/>
              <a:t> </a:t>
            </a:r>
            <a:r>
              <a:rPr lang="it-IT" sz="1100" err="1"/>
              <a:t>carry</a:t>
            </a:r>
            <a:r>
              <a:rPr lang="it-IT" sz="1100"/>
              <a:t>. </a:t>
            </a:r>
          </a:p>
          <a:p>
            <a:pPr marR="0" lvl="0" algn="l" defTabSz="914400" rtl="0" eaLnBrk="1" fontAlgn="auto" latinLnBrk="0" hangingPunct="1">
              <a:spcAft>
                <a:spcPts val="1200"/>
              </a:spcAft>
              <a:buClrTx/>
              <a:buSzTx/>
              <a:tabLst/>
              <a:defRPr/>
            </a:pPr>
            <a:r>
              <a:rPr lang="it-IT" sz="1100"/>
              <a:t>TQ </a:t>
            </a:r>
            <a:r>
              <a:rPr lang="it-IT" sz="1100" err="1"/>
              <a:t>offers</a:t>
            </a:r>
            <a:r>
              <a:rPr lang="it-IT" sz="1100"/>
              <a:t> </a:t>
            </a:r>
            <a:r>
              <a:rPr lang="it-IT" sz="1100" err="1"/>
              <a:t>continuous</a:t>
            </a:r>
            <a:r>
              <a:rPr lang="it-IT" sz="1100"/>
              <a:t> learning on </a:t>
            </a:r>
            <a:r>
              <a:rPr lang="it-IT" sz="1100" err="1"/>
              <a:t>frequent</a:t>
            </a:r>
            <a:r>
              <a:rPr lang="it-IT" sz="1100"/>
              <a:t> </a:t>
            </a:r>
            <a:r>
              <a:rPr lang="it-IT" sz="1100" err="1"/>
              <a:t>topics</a:t>
            </a:r>
            <a:r>
              <a:rPr lang="it-IT" sz="1100"/>
              <a:t> </a:t>
            </a:r>
            <a:r>
              <a:rPr lang="it-IT" sz="1100" err="1"/>
              <a:t>including</a:t>
            </a:r>
            <a:r>
              <a:rPr lang="it-IT" sz="1100"/>
              <a:t> the Cloud, AI &amp; Data, Blockchain and more. </a:t>
            </a:r>
            <a:r>
              <a:rPr lang="it-IT" sz="1100" err="1"/>
              <a:t>Captivating</a:t>
            </a:r>
            <a:r>
              <a:rPr lang="it-IT" sz="1100"/>
              <a:t> </a:t>
            </a:r>
            <a:r>
              <a:rPr lang="it-IT" sz="1100" err="1"/>
              <a:t>videos</a:t>
            </a:r>
            <a:r>
              <a:rPr lang="it-IT" sz="1100"/>
              <a:t>, tools and </a:t>
            </a:r>
            <a:r>
              <a:rPr lang="it-IT" sz="1100" err="1"/>
              <a:t>quizzes</a:t>
            </a:r>
            <a:r>
              <a:rPr lang="it-IT" sz="1100"/>
              <a:t> </a:t>
            </a:r>
            <a:r>
              <a:rPr lang="it-IT" sz="1100" err="1"/>
              <a:t>simplify</a:t>
            </a:r>
            <a:r>
              <a:rPr lang="it-IT" sz="1100"/>
              <a:t> the </a:t>
            </a:r>
            <a:r>
              <a:rPr lang="it-IT" sz="1100" err="1"/>
              <a:t>most</a:t>
            </a:r>
            <a:r>
              <a:rPr lang="it-IT" sz="1100"/>
              <a:t> </a:t>
            </a:r>
            <a:r>
              <a:rPr lang="it-IT" sz="1100" err="1"/>
              <a:t>complex</a:t>
            </a:r>
            <a:r>
              <a:rPr lang="it-IT" sz="1100"/>
              <a:t> </a:t>
            </a:r>
            <a:r>
              <a:rPr lang="it-IT" sz="1100" err="1"/>
              <a:t>ideas</a:t>
            </a:r>
            <a:r>
              <a:rPr lang="it-IT" sz="1100"/>
              <a:t>, </a:t>
            </a:r>
            <a:r>
              <a:rPr lang="it-IT" sz="1100" err="1"/>
              <a:t>inspiring</a:t>
            </a:r>
            <a:r>
              <a:rPr lang="it-IT" sz="1100"/>
              <a:t> </a:t>
            </a:r>
            <a:r>
              <a:rPr lang="it-IT" sz="1100" err="1"/>
              <a:t>us</a:t>
            </a:r>
            <a:r>
              <a:rPr lang="it-IT" sz="1100"/>
              <a:t> to rise </a:t>
            </a:r>
            <a:r>
              <a:rPr lang="it-IT" sz="1100" err="1"/>
              <a:t>above</a:t>
            </a:r>
            <a:r>
              <a:rPr lang="it-IT" sz="1100"/>
              <a:t> the fast-</a:t>
            </a:r>
            <a:r>
              <a:rPr lang="it-IT" sz="1100" err="1"/>
              <a:t>moving</a:t>
            </a:r>
            <a:r>
              <a:rPr lang="it-IT" sz="1100"/>
              <a:t> tech curve.</a:t>
            </a:r>
          </a:p>
          <a:p>
            <a:pPr marL="0" marR="0" lvl="0" indent="0" algn="l" defTabSz="914400" rtl="0" eaLnBrk="1" fontAlgn="auto" latinLnBrk="0" hangingPunct="1"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sz="1100" b="1" err="1"/>
              <a:t>Why</a:t>
            </a:r>
            <a:r>
              <a:rPr lang="it-IT" sz="1100" b="1"/>
              <a:t> TQ?</a:t>
            </a:r>
          </a:p>
          <a:p>
            <a:pPr>
              <a:spcAft>
                <a:spcPts val="1200"/>
              </a:spcAft>
              <a:defRPr/>
            </a:pPr>
            <a:r>
              <a:rPr lang="it-IT" sz="1100">
                <a:cs typeface="Arial"/>
              </a:rPr>
              <a:t>Simply put, </a:t>
            </a:r>
            <a:r>
              <a:rPr lang="it-IT" sz="1100" err="1">
                <a:cs typeface="Arial"/>
              </a:rPr>
              <a:t>technology</a:t>
            </a:r>
            <a:r>
              <a:rPr lang="it-IT" sz="1100">
                <a:cs typeface="Arial"/>
              </a:rPr>
              <a:t> </a:t>
            </a:r>
            <a:r>
              <a:rPr lang="it-IT" sz="1100" i="1" err="1">
                <a:cs typeface="Arial"/>
              </a:rPr>
              <a:t>is</a:t>
            </a:r>
            <a:r>
              <a:rPr lang="it-IT" sz="1100">
                <a:cs typeface="Arial"/>
              </a:rPr>
              <a:t> </a:t>
            </a:r>
            <a:r>
              <a:rPr lang="it-IT" sz="1100" err="1">
                <a:cs typeface="Arial"/>
              </a:rPr>
              <a:t>our</a:t>
            </a:r>
            <a:r>
              <a:rPr lang="it-IT" sz="1100">
                <a:cs typeface="Arial"/>
              </a:rPr>
              <a:t> new </a:t>
            </a:r>
            <a:r>
              <a:rPr lang="it-IT" sz="1100" err="1">
                <a:cs typeface="Arial"/>
              </a:rPr>
              <a:t>language</a:t>
            </a:r>
            <a:r>
              <a:rPr lang="it-IT" sz="1100">
                <a:cs typeface="Arial"/>
              </a:rPr>
              <a:t>. </a:t>
            </a:r>
            <a:r>
              <a:rPr lang="it-IT" sz="1100" err="1"/>
              <a:t>As</a:t>
            </a:r>
            <a:r>
              <a:rPr lang="it-IT" sz="1100"/>
              <a:t> </a:t>
            </a:r>
            <a:r>
              <a:rPr lang="it-IT" sz="1100" err="1"/>
              <a:t>we</a:t>
            </a:r>
            <a:r>
              <a:rPr lang="it-IT" sz="1100"/>
              <a:t> </a:t>
            </a:r>
            <a:r>
              <a:rPr lang="it-IT" sz="1100" err="1"/>
              <a:t>enter</a:t>
            </a:r>
            <a:r>
              <a:rPr lang="it-IT" sz="1100"/>
              <a:t> the decade of </a:t>
            </a:r>
            <a:r>
              <a:rPr lang="it-IT" sz="1100" err="1"/>
              <a:t>delivering</a:t>
            </a:r>
            <a:r>
              <a:rPr lang="it-IT" sz="1100"/>
              <a:t> on the promise of </a:t>
            </a:r>
            <a:r>
              <a:rPr lang="it-IT" sz="1100" err="1"/>
              <a:t>technology</a:t>
            </a:r>
            <a:r>
              <a:rPr lang="it-IT" sz="1100"/>
              <a:t>, in order to </a:t>
            </a:r>
            <a:r>
              <a:rPr lang="it-IT" sz="1100" err="1"/>
              <a:t>respond</a:t>
            </a:r>
            <a:r>
              <a:rPr lang="it-IT" sz="1100"/>
              <a:t> </a:t>
            </a:r>
            <a:r>
              <a:rPr lang="it-IT" sz="1100" err="1"/>
              <a:t>quickly</a:t>
            </a:r>
            <a:r>
              <a:rPr lang="it-IT" sz="1100"/>
              <a:t> to </a:t>
            </a:r>
            <a:r>
              <a:rPr lang="it-IT" sz="1100" err="1"/>
              <a:t>changing</a:t>
            </a:r>
            <a:r>
              <a:rPr lang="it-IT" sz="1100"/>
              <a:t> market </a:t>
            </a:r>
            <a:r>
              <a:rPr lang="it-IT" sz="1100" err="1"/>
              <a:t>conditions</a:t>
            </a:r>
            <a:r>
              <a:rPr lang="it-IT" sz="1100"/>
              <a:t>, </a:t>
            </a:r>
            <a:r>
              <a:rPr lang="it-IT" sz="1100" err="1"/>
              <a:t>it’s</a:t>
            </a:r>
            <a:r>
              <a:rPr lang="it-IT" sz="1100"/>
              <a:t> </a:t>
            </a:r>
            <a:r>
              <a:rPr lang="it-IT" sz="1100" err="1"/>
              <a:t>vital</a:t>
            </a:r>
            <a:r>
              <a:rPr lang="it-IT" sz="1100"/>
              <a:t> </a:t>
            </a:r>
            <a:r>
              <a:rPr lang="it-IT" sz="1100" err="1"/>
              <a:t>that</a:t>
            </a:r>
            <a:r>
              <a:rPr lang="it-IT" sz="1100"/>
              <a:t> </a:t>
            </a:r>
            <a:r>
              <a:rPr lang="it-IT" sz="1100" err="1"/>
              <a:t>each</a:t>
            </a:r>
            <a:r>
              <a:rPr lang="it-IT" sz="1100"/>
              <a:t> of </a:t>
            </a:r>
            <a:r>
              <a:rPr lang="it-IT" sz="1100" err="1"/>
              <a:t>us</a:t>
            </a:r>
            <a:r>
              <a:rPr lang="it-IT" sz="1100"/>
              <a:t> </a:t>
            </a:r>
            <a:r>
              <a:rPr lang="it-IT" sz="1100" err="1"/>
              <a:t>not</a:t>
            </a:r>
            <a:r>
              <a:rPr lang="it-IT" sz="1100"/>
              <a:t> </a:t>
            </a:r>
            <a:r>
              <a:rPr lang="it-IT" sz="1100" err="1"/>
              <a:t>only</a:t>
            </a:r>
            <a:r>
              <a:rPr lang="it-IT" sz="1100"/>
              <a:t> </a:t>
            </a:r>
            <a:r>
              <a:rPr lang="it-IT" sz="1100" err="1"/>
              <a:t>understands</a:t>
            </a:r>
            <a:r>
              <a:rPr lang="it-IT" sz="1100"/>
              <a:t> </a:t>
            </a:r>
            <a:r>
              <a:rPr lang="it-IT" sz="1100" err="1"/>
              <a:t>technology</a:t>
            </a:r>
            <a:r>
              <a:rPr lang="it-IT" sz="1100"/>
              <a:t>, </a:t>
            </a:r>
            <a:r>
              <a:rPr lang="it-IT" sz="1100" err="1"/>
              <a:t>but</a:t>
            </a:r>
            <a:r>
              <a:rPr lang="it-IT" sz="1100"/>
              <a:t> can </a:t>
            </a:r>
            <a:r>
              <a:rPr lang="it-IT" sz="1100" err="1"/>
              <a:t>also</a:t>
            </a:r>
            <a:r>
              <a:rPr lang="it-IT" sz="1100"/>
              <a:t> </a:t>
            </a:r>
            <a:r>
              <a:rPr lang="it-IT" sz="1100" err="1"/>
              <a:t>clearly</a:t>
            </a:r>
            <a:r>
              <a:rPr lang="it-IT" sz="1100"/>
              <a:t> </a:t>
            </a:r>
            <a:r>
              <a:rPr lang="it-IT" sz="1100" err="1"/>
              <a:t>articulate</a:t>
            </a:r>
            <a:r>
              <a:rPr lang="it-IT" sz="1100"/>
              <a:t> </a:t>
            </a:r>
            <a:r>
              <a:rPr lang="it-IT" sz="1100" err="1"/>
              <a:t>how</a:t>
            </a:r>
            <a:r>
              <a:rPr lang="it-IT" sz="1100"/>
              <a:t> to </a:t>
            </a:r>
            <a:r>
              <a:rPr lang="it-IT" sz="1100" err="1"/>
              <a:t>apply</a:t>
            </a:r>
            <a:r>
              <a:rPr lang="it-IT" sz="1100"/>
              <a:t> </a:t>
            </a:r>
            <a:r>
              <a:rPr lang="it-IT" sz="1100" err="1"/>
              <a:t>it</a:t>
            </a:r>
            <a:r>
              <a:rPr lang="it-IT" sz="1100"/>
              <a:t>, </a:t>
            </a:r>
            <a:r>
              <a:rPr lang="it-IT" sz="1100" err="1"/>
              <a:t>developing</a:t>
            </a:r>
            <a:r>
              <a:rPr lang="it-IT" sz="1100"/>
              <a:t> innovative </a:t>
            </a:r>
            <a:r>
              <a:rPr lang="it-IT" sz="1100" err="1"/>
              <a:t>solutions</a:t>
            </a:r>
            <a:r>
              <a:rPr lang="it-IT" sz="1100"/>
              <a:t> for </a:t>
            </a:r>
            <a:r>
              <a:rPr lang="it-IT" sz="1100" err="1"/>
              <a:t>our</a:t>
            </a:r>
            <a:r>
              <a:rPr lang="it-IT" sz="1100"/>
              <a:t> clients and </a:t>
            </a:r>
            <a:r>
              <a:rPr lang="it-IT" sz="1100" err="1"/>
              <a:t>growing</a:t>
            </a:r>
            <a:r>
              <a:rPr lang="it-IT" sz="1100"/>
              <a:t> </a:t>
            </a:r>
            <a:r>
              <a:rPr lang="it-IT" sz="1100" err="1"/>
              <a:t>as</a:t>
            </a:r>
            <a:r>
              <a:rPr lang="it-IT" sz="1100"/>
              <a:t> </a:t>
            </a:r>
            <a:r>
              <a:rPr lang="it-IT" sz="1100" err="1"/>
              <a:t>individuals</a:t>
            </a:r>
            <a:endParaRPr lang="it-IT" sz="1100"/>
          </a:p>
          <a:p>
            <a:pPr marR="0" lvl="0" defTabSz="914400" rtl="0" eaLnBrk="1" fontAlgn="auto" latinLnBrk="0" hangingPunct="1">
              <a:buClrTx/>
              <a:buSzTx/>
              <a:tabLst/>
              <a:defRPr/>
            </a:pPr>
            <a:r>
              <a:rPr lang="it-IT" sz="1100" err="1"/>
              <a:t>Our</a:t>
            </a:r>
            <a:r>
              <a:rPr lang="it-IT" sz="1100"/>
              <a:t> TQ </a:t>
            </a:r>
            <a:r>
              <a:rPr lang="it-IT" sz="1100" err="1"/>
              <a:t>program</a:t>
            </a:r>
            <a:r>
              <a:rPr lang="it-IT" sz="1100"/>
              <a:t> </a:t>
            </a:r>
            <a:r>
              <a:rPr lang="it-IT" sz="1100" err="1"/>
              <a:t>delivers</a:t>
            </a:r>
            <a:r>
              <a:rPr lang="it-IT" sz="1100"/>
              <a:t>: </a:t>
            </a:r>
          </a:p>
          <a:p>
            <a:pPr marL="234950" marR="0" lvl="1" indent="-234950" defTabSz="9144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100" b="1" kern="1200" err="1">
                <a:solidFill>
                  <a:schemeClr val="tx1"/>
                </a:solidFill>
                <a:latin typeface="Graphik" panose="020B0503030202060203" pitchFamily="34" charset="0"/>
              </a:rPr>
              <a:t>Continuous</a:t>
            </a:r>
            <a:r>
              <a:rPr lang="it-IT" sz="1100" b="1" kern="1200">
                <a:solidFill>
                  <a:schemeClr val="tx1"/>
                </a:solidFill>
                <a:latin typeface="Graphik" panose="020B0503030202060203" pitchFamily="34" charset="0"/>
              </a:rPr>
              <a:t> Learning:   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Accenture people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continuously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learn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and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learn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with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agility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so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that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we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continue to make the new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happen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now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.  </a:t>
            </a:r>
          </a:p>
          <a:p>
            <a:pPr marL="234950" lvl="1" indent="-234950">
              <a:buFont typeface="Arial" panose="020B0604020202020204" pitchFamily="34" charset="0"/>
              <a:buChar char="•"/>
              <a:defRPr/>
            </a:pPr>
            <a:r>
              <a:rPr lang="it-IT" sz="1100" b="1" kern="1200" err="1">
                <a:solidFill>
                  <a:schemeClr val="tx1"/>
                </a:solidFill>
                <a:latin typeface="Graphik" panose="020B0503030202060203" pitchFamily="34" charset="0"/>
              </a:rPr>
              <a:t>Combinatorial</a:t>
            </a:r>
            <a:r>
              <a:rPr lang="it-IT" sz="1100" b="1" kern="1200">
                <a:solidFill>
                  <a:schemeClr val="tx1"/>
                </a:solidFill>
                <a:latin typeface="Graphik" panose="020B0503030202060203" pitchFamily="34" charset="0"/>
              </a:rPr>
              <a:t> Power:  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TQ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creates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the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connective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tissue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on the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language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around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tech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innovations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across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all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Accenture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programs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.</a:t>
            </a:r>
          </a:p>
          <a:p>
            <a:pPr marL="234950" lvl="1" indent="-234950">
              <a:buFont typeface="Arial" panose="020B0604020202020204" pitchFamily="34" charset="0"/>
              <a:buChar char="•"/>
              <a:defRPr/>
            </a:pPr>
            <a:r>
              <a:rPr lang="it-IT" sz="1100" b="1" kern="1200">
                <a:solidFill>
                  <a:schemeClr val="tx1"/>
                </a:solidFill>
                <a:latin typeface="Graphik" panose="020B0503030202060203" pitchFamily="34" charset="0"/>
              </a:rPr>
              <a:t>Client Value: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We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must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maintain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mastery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of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technology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innovations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and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effectively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translate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what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they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mean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to </a:t>
            </a:r>
            <a:r>
              <a:rPr lang="it-IT" sz="1100" kern="1200" err="1">
                <a:solidFill>
                  <a:schemeClr val="tx1"/>
                </a:solidFill>
                <a:latin typeface="Graphik" panose="020B0503030202060203" pitchFamily="34" charset="0"/>
              </a:rPr>
              <a:t>our</a:t>
            </a:r>
            <a:r>
              <a:rPr lang="it-IT" sz="1100" kern="1200">
                <a:solidFill>
                  <a:schemeClr val="tx1"/>
                </a:solidFill>
                <a:latin typeface="Graphik" panose="020B0503030202060203" pitchFamily="34" charset="0"/>
              </a:rPr>
              <a:t> cli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it-IT" smtClean="0"/>
              <a:pPr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19500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3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455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3608" userDrawn="1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29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60501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Arial" panose="020B0604020202020204" pitchFamily="34" charset="0"/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300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55399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562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029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1964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98849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3729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25906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355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152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0055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2160" userDrawn="1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0008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131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marL="0" marR="0" lvl="0" indent="0" algn="l" defTabSz="228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agenda summary </a:t>
            </a:r>
            <a:r>
              <a:rPr lang="en-GB" dirty="0"/>
              <a:t>here in Palatino Linotype 24p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Agenda title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87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85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92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0pt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445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 userDrawn="1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/>
            </a:lvl2pPr>
            <a:lvl3pPr marL="457200">
              <a:buFont typeface="Arial" panose="020B0503030202060203" pitchFamily="34" charset="0"/>
              <a:buChar char="–"/>
              <a:defRPr sz="1800"/>
            </a:lvl3pPr>
            <a:lvl4pPr marL="685800">
              <a:buFont typeface="Arial" panose="020B0604020202020204" pitchFamily="34" charset="0"/>
              <a:buChar char="•"/>
              <a:defRPr sz="1600"/>
            </a:lvl4pPr>
            <a:lvl5pPr marL="914400">
              <a:buFont typeface="Arial" panose="020B0503030202060203" pitchFamily="34" charset="0"/>
              <a:buChar char="–"/>
              <a:defRPr sz="1600"/>
            </a:lvl5pPr>
          </a:lstStyle>
          <a:p>
            <a:pPr marL="0" marR="0" lvl="0" indent="0" algn="l" defTabSz="228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sub-headline here </a:t>
            </a:r>
            <a:r>
              <a:rPr lang="en-GB" dirty="0"/>
              <a:t>in Palatino Linotype 24pt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Place text here 20pt</a:t>
            </a:r>
          </a:p>
          <a:p>
            <a:pPr lvl="1"/>
            <a:r>
              <a:rPr lang="en-US" dirty="0"/>
              <a:t>Second level 20pt</a:t>
            </a:r>
          </a:p>
          <a:p>
            <a:pPr lvl="2"/>
            <a:r>
              <a:rPr lang="en-US" dirty="0"/>
              <a:t>Third level 20pt</a:t>
            </a:r>
          </a:p>
          <a:p>
            <a:pPr lvl="3"/>
            <a:r>
              <a:rPr lang="en-US" dirty="0"/>
              <a:t>Fourth level 18pt</a:t>
            </a:r>
          </a:p>
          <a:p>
            <a:pPr lvl="4"/>
            <a:r>
              <a:rPr lang="en-US" dirty="0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85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 userDrawn="1">
          <p15:clr>
            <a:srgbClr val="C35E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420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0p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974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0p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45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0882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0pt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09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0pt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975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0p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126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accent2"/>
                </a:solidFill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186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034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028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Place text here, use indent to access other levels 20pt</a:t>
            </a:r>
          </a:p>
          <a:p>
            <a:pPr lvl="1"/>
            <a:r>
              <a:rPr lang="en-GB" dirty="0"/>
              <a:t>Second level 20pt</a:t>
            </a:r>
          </a:p>
          <a:p>
            <a:pPr lvl="2"/>
            <a:r>
              <a:rPr lang="en-GB" dirty="0"/>
              <a:t>Third level 20pt</a:t>
            </a:r>
          </a:p>
          <a:p>
            <a:pPr lvl="3"/>
            <a:r>
              <a:rPr lang="en-GB" dirty="0"/>
              <a:t>Fourth level 18pt</a:t>
            </a:r>
          </a:p>
          <a:p>
            <a:pPr lvl="4"/>
            <a:r>
              <a:rPr lang="en-GB" dirty="0"/>
              <a:t>Fifth level 18p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19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Drag picture to placeholder or click icon to add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/>
            </a:lvl2pPr>
            <a:lvl3pPr marL="457200">
              <a:buFont typeface="Arial" panose="020B0503030202060203" pitchFamily="34" charset="0"/>
              <a:buChar char="–"/>
              <a:defRPr sz="1800"/>
            </a:lvl3pPr>
            <a:lvl4pPr marL="685800">
              <a:buFont typeface="Arial" panose="020B0604020202020204" pitchFamily="34" charset="0"/>
              <a:buChar char="•"/>
              <a:defRPr sz="1600"/>
            </a:lvl4pPr>
            <a:lvl5pPr marL="914400">
              <a:buFont typeface="Arial" panose="020B0503030202060203" pitchFamily="34" charset="0"/>
              <a:buChar char="–"/>
              <a:defRPr sz="1600"/>
            </a:lvl5pPr>
          </a:lstStyle>
          <a:p>
            <a:pPr marL="0" marR="0" lvl="0" indent="0" algn="l" defTabSz="228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sub-headline here </a:t>
            </a:r>
            <a:r>
              <a:rPr lang="en-GB" dirty="0"/>
              <a:t>in Palatino Linotype 24pt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181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Palatino Linotype" panose="02040502050505030304" pitchFamily="18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Arial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Arial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marL="0" marR="0" lvl="0" indent="0" algn="l" defTabSz="228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sub-headline here</a:t>
            </a:r>
            <a:r>
              <a:rPr lang="en-GB" dirty="0"/>
              <a:t> in Palatino Linotype 24pt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12" name="GTS_WH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180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11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861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445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01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2B70CB6-23E9-4FFC-BB1B-65EBB0571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5333969" cy="2393952"/>
          </a:xfrm>
        </p:spPr>
        <p:txBody>
          <a:bodyPr anchor="ctr"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</a:t>
            </a:r>
          </a:p>
          <a:p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Drag picture to placeholder </a:t>
            </a:r>
          </a:p>
          <a:p>
            <a:pPr marL="228600" lvl="0" indent="-228600" algn="ctr"/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N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206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365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137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234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GB" dirty="0"/>
              <a:t>Place subtitle here in Palatino Linotype 20pt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57B39DE-308A-5AB5-EDD2-616F7BA95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7F956CF-8908-6B27-C572-F9FC00485D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6EFAC431-E772-913B-34BF-E93998FD80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B3234-4967-194C-BE71-191D8BDC6382}" type="datetimeFigureOut">
              <a:rPr lang="it-IT" smtClean="0"/>
              <a:t>19/04/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ED6659E-3C2E-C151-1198-92243837CC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403724E-D317-D98A-C68F-B9550EE35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80E27-4D6E-C04F-B5E4-DEADFC4FEC7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9562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06091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 o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DD212D-E256-4C00-BAB5-4BF5618E2D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024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5" imgH="476" progId="TCLayout.ActiveDocument.1">
                  <p:embed/>
                </p:oleObj>
              </mc:Choice>
              <mc:Fallback>
                <p:oleObj name="think-cell Slide" r:id="rId3" imgW="475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DD212D-E256-4C00-BAB5-4BF5618E2D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Footer Placeholder 6">
            <a:extLst>
              <a:ext uri="{FF2B5EF4-FFF2-40B4-BE49-F238E27FC236}">
                <a16:creationId xmlns:a16="http://schemas.microsoft.com/office/drawing/2014/main" id="{E8AEB6AD-4DA8-4CA8-A165-E7A3CC29336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auto">
          <a:xfrm>
            <a:off x="8096146" y="6393634"/>
            <a:ext cx="3733634" cy="270112"/>
          </a:xfrm>
          <a:prstGeom prst="rect">
            <a:avLst/>
          </a:prstGeom>
        </p:spPr>
        <p:txBody>
          <a:bodyPr tIns="0" bIns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Copyright © 2021 Accenture. All rights reserved.</a:t>
            </a:r>
          </a:p>
        </p:txBody>
      </p:sp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C1C6ABCE-5174-4BF1-9E26-3123CD29E1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 flipH="1">
            <a:off x="363064" y="6393634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0" b="1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AF037D9-8309-4BE9-B789-137A2DEA13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360141" y="539875"/>
            <a:ext cx="11459366" cy="700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Insert Main Title at 32pt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8865496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55BD9-B954-4966-B32C-4D9FEAE4AB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 anchorCtr="0">
            <a:noAutofit/>
          </a:bodyPr>
          <a:lstStyle>
            <a:lvl1pPr>
              <a:defRPr sz="3400">
                <a:latin typeface="Graphik Super" panose="020B0B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F78AEFC-3A1C-4E1A-B975-41ED69DC8F76}"/>
              </a:ext>
            </a:extLst>
          </p:cNvPr>
          <p:cNvSpPr txBox="1">
            <a:spLocks/>
          </p:cNvSpPr>
          <p:nvPr userDrawn="1"/>
        </p:nvSpPr>
        <p:spPr>
          <a:xfrm>
            <a:off x="11582400" y="6519009"/>
            <a:ext cx="431801" cy="206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lang="it-IT" sz="1200" kern="1200" smtClean="0">
                <a:solidFill>
                  <a:schemeClr val="tx1">
                    <a:tint val="75000"/>
                  </a:schemeClr>
                </a:solidFill>
                <a:latin typeface="Graphik" panose="020B05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28610F0-5F6F-44F7-A1AF-E07C1D43CF04}" type="slidenum">
              <a:rPr lang="en-US" sz="900" smtClean="0">
                <a:solidFill>
                  <a:schemeClr val="tx1"/>
                </a:solidFill>
                <a:latin typeface="Graphik" panose="020B0503030202060203" pitchFamily="34" charset="0"/>
              </a:rPr>
              <a:pPr/>
              <a:t>‹N›</a:t>
            </a:fld>
            <a:endParaRPr lang="en-US" sz="1000">
              <a:solidFill>
                <a:schemeClr val="tx1"/>
              </a:solidFill>
              <a:latin typeface="Graphik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7300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Palatino Linotype" panose="02040502050505030304" pitchFamily="18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348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Palatino Linotype" panose="02040502050505030304" pitchFamily="18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43053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78562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Palatino Linotype 24pt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65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bullet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 dirty="0"/>
              <a:t>Copyright © 2023 Accenture. All rights reserved.</a:t>
            </a:r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29" r:id="rId2"/>
    <p:sldLayoutId id="2147483682" r:id="rId3"/>
    <p:sldLayoutId id="2147483734" r:id="rId4"/>
    <p:sldLayoutId id="2147483728" r:id="rId5"/>
    <p:sldLayoutId id="2147483733" r:id="rId6"/>
    <p:sldLayoutId id="2147483730" r:id="rId7"/>
    <p:sldLayoutId id="2147483681" r:id="rId8"/>
    <p:sldLayoutId id="2147483732" r:id="rId9"/>
    <p:sldLayoutId id="2147483731" r:id="rId10"/>
    <p:sldLayoutId id="2147483750" r:id="rId11"/>
    <p:sldLayoutId id="2147483649" r:id="rId12"/>
    <p:sldLayoutId id="2147483759" r:id="rId13"/>
    <p:sldLayoutId id="2147483760" r:id="rId14"/>
    <p:sldLayoutId id="2147483746" r:id="rId15"/>
    <p:sldLayoutId id="2147483751" r:id="rId16"/>
    <p:sldLayoutId id="2147483752" r:id="rId17"/>
    <p:sldLayoutId id="2147483748" r:id="rId18"/>
    <p:sldLayoutId id="2147483651" r:id="rId19"/>
    <p:sldLayoutId id="2147483721" r:id="rId20"/>
    <p:sldLayoutId id="2147483739" r:id="rId21"/>
    <p:sldLayoutId id="2147483737" r:id="rId22"/>
    <p:sldLayoutId id="2147483742" r:id="rId23"/>
    <p:sldLayoutId id="2147483724" r:id="rId24"/>
    <p:sldLayoutId id="2147483723" r:id="rId25"/>
    <p:sldLayoutId id="2147483725" r:id="rId26"/>
    <p:sldLayoutId id="2147483755" r:id="rId27"/>
    <p:sldLayoutId id="2147483757" r:id="rId28"/>
    <p:sldLayoutId id="2147483673" r:id="rId29"/>
    <p:sldLayoutId id="2147483653" r:id="rId30"/>
    <p:sldLayoutId id="2147483722" r:id="rId31"/>
    <p:sldLayoutId id="2147483693" r:id="rId32"/>
    <p:sldLayoutId id="2147483701" r:id="rId33"/>
    <p:sldLayoutId id="2147483668" r:id="rId34"/>
    <p:sldLayoutId id="2147483707" r:id="rId35"/>
    <p:sldLayoutId id="2147483714" r:id="rId36"/>
    <p:sldLayoutId id="2147483657" r:id="rId37"/>
    <p:sldLayoutId id="2147483679" r:id="rId38"/>
    <p:sldLayoutId id="2147483661" r:id="rId39"/>
    <p:sldLayoutId id="2147483754" r:id="rId40"/>
    <p:sldLayoutId id="2147483678" r:id="rId41"/>
    <p:sldLayoutId id="2147483663" r:id="rId42"/>
    <p:sldLayoutId id="2147483667" r:id="rId43"/>
    <p:sldLayoutId id="2147483726" r:id="rId44"/>
    <p:sldLayoutId id="2147483688" r:id="rId45"/>
    <p:sldLayoutId id="2147483655" r:id="rId46"/>
    <p:sldLayoutId id="2147483745" r:id="rId47"/>
    <p:sldLayoutId id="2147483741" r:id="rId48"/>
    <p:sldLayoutId id="2147483761" r:id="rId49"/>
    <p:sldLayoutId id="2147483762" r:id="rId50"/>
    <p:sldLayoutId id="2147483763" r:id="rId51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4.jpeg"/><Relationship Id="rId7" Type="http://schemas.openxmlformats.org/officeDocument/2006/relationships/image" Target="../media/image38.png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37.png"/><Relationship Id="rId11" Type="http://schemas.microsoft.com/office/2007/relationships/hdphoto" Target="../media/hdphoto2.wdp"/><Relationship Id="rId5" Type="http://schemas.openxmlformats.org/officeDocument/2006/relationships/image" Target="../media/image36.jpeg"/><Relationship Id="rId10" Type="http://schemas.openxmlformats.org/officeDocument/2006/relationships/image" Target="../media/image40.png"/><Relationship Id="rId4" Type="http://schemas.openxmlformats.org/officeDocument/2006/relationships/image" Target="../media/image35.jpeg"/><Relationship Id="rId9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1.svg"/><Relationship Id="rId12" Type="http://schemas.openxmlformats.org/officeDocument/2006/relationships/image" Target="../media/image26.svg"/><Relationship Id="rId17" Type="http://schemas.openxmlformats.org/officeDocument/2006/relationships/image" Target="../media/image31.png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30.svg"/><Relationship Id="rId1" Type="http://schemas.openxmlformats.org/officeDocument/2006/relationships/tags" Target="../tags/tag2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emf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23.svg"/><Relationship Id="rId14" Type="http://schemas.openxmlformats.org/officeDocument/2006/relationships/image" Target="../media/image2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3.xml"/><Relationship Id="rId6" Type="http://schemas.openxmlformats.org/officeDocument/2006/relationships/image" Target="../media/image33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FB5035-7C72-43BF-A8DB-A7280ED54461}"/>
              </a:ext>
            </a:extLst>
          </p:cNvPr>
          <p:cNvSpPr>
            <a:spLocks noGrp="1"/>
          </p:cNvSpPr>
          <p:nvPr>
            <p:ph type="ctrTitle"/>
          </p:nvPr>
        </p:nvSpPr>
        <p:spPr bwMode="white"/>
        <p:txBody>
          <a:bodyPr/>
          <a:lstStyle/>
          <a:p>
            <a:r>
              <a:rPr lang="en-US" dirty="0"/>
              <a:t>Rome Technopole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1244AFF-6411-4B84-BA88-9244C01259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GB" dirty="0"/>
              <a:t>Networking Day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19C304-423F-4288-926C-47BD259C67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/>
        <p:txBody>
          <a:bodyPr/>
          <a:lstStyle/>
          <a:p>
            <a:r>
              <a:rPr lang="it-IT" dirty="0"/>
              <a:t>Stefano Trombet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30963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boy sitting on swing chair">
            <a:extLst>
              <a:ext uri="{FF2B5EF4-FFF2-40B4-BE49-F238E27FC236}">
                <a16:creationId xmlns:a16="http://schemas.microsoft.com/office/drawing/2014/main" id="{AEC7C038-65DA-45A1-8711-6B222155B5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6261124" y="3691526"/>
            <a:ext cx="2893775" cy="1909521"/>
          </a:xfrm>
          <a:prstGeom prst="rect">
            <a:avLst/>
          </a:prstGeom>
          <a:noFill/>
          <a:ln w="190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CFBF777-BA72-4B2E-9EC5-3B69241B0ED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39290" y="3691525"/>
            <a:ext cx="2893774" cy="1917699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23" name="Picture 8" descr="https://images.unsplash.com/photo-1527525443983-6e60c75fff46?ixlib=rb-1.2.1&amp;ixid=eyJhcHBfaWQiOjEyMDd9&amp;auto=format&amp;fit=crop&amp;w=1000&amp;q=80">
            <a:extLst>
              <a:ext uri="{FF2B5EF4-FFF2-40B4-BE49-F238E27FC236}">
                <a16:creationId xmlns:a16="http://schemas.microsoft.com/office/drawing/2014/main" id="{303B8535-1266-4174-9A46-5C38256B04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82963" y="3699703"/>
            <a:ext cx="2893773" cy="1909521"/>
          </a:xfrm>
          <a:prstGeom prst="rect">
            <a:avLst/>
          </a:prstGeom>
          <a:noFill/>
          <a:ln w="190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FD12920-7310-48C1-B8C6-C3985C8F946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alphaModFix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800" y="3691525"/>
            <a:ext cx="2893773" cy="19176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chemeClr val="bg1"/>
            </a:solidFill>
          </a:ln>
          <a:effectLst/>
        </p:spPr>
      </p:pic>
      <p:pic>
        <p:nvPicPr>
          <p:cNvPr id="25" name="Picture 2" descr="How to Boost the Performance of Your Business Departments">
            <a:extLst>
              <a:ext uri="{FF2B5EF4-FFF2-40B4-BE49-F238E27FC236}">
                <a16:creationId xmlns:a16="http://schemas.microsoft.com/office/drawing/2014/main" id="{61FDB612-7F15-4FAE-8775-1C83CB5750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239290" y="1672112"/>
            <a:ext cx="2893774" cy="1939088"/>
          </a:xfrm>
          <a:prstGeom prst="rect">
            <a:avLst/>
          </a:prstGeom>
          <a:noFill/>
          <a:ln w="190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black butterfly on woman's palm">
            <a:extLst>
              <a:ext uri="{FF2B5EF4-FFF2-40B4-BE49-F238E27FC236}">
                <a16:creationId xmlns:a16="http://schemas.microsoft.com/office/drawing/2014/main" id="{A0D5B1E6-5102-4823-9609-06D6F910FA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4800" y="1684926"/>
            <a:ext cx="2893773" cy="1917699"/>
          </a:xfrm>
          <a:prstGeom prst="rect">
            <a:avLst/>
          </a:prstGeom>
          <a:noFill/>
          <a:ln w="190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A3DCC602-C5F0-488B-A28D-8197706F7207}"/>
              </a:ext>
            </a:extLst>
          </p:cNvPr>
          <p:cNvSpPr/>
          <p:nvPr/>
        </p:nvSpPr>
        <p:spPr>
          <a:xfrm>
            <a:off x="304800" y="1668530"/>
            <a:ext cx="2893773" cy="1942670"/>
          </a:xfrm>
          <a:prstGeom prst="rect">
            <a:avLst/>
          </a:prstGeom>
          <a:solidFill>
            <a:schemeClr val="tx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2F8A3D0-9EF7-4D39-8565-E56D357AFA09}"/>
              </a:ext>
            </a:extLst>
          </p:cNvPr>
          <p:cNvSpPr/>
          <p:nvPr/>
        </p:nvSpPr>
        <p:spPr>
          <a:xfrm>
            <a:off x="9239290" y="1618425"/>
            <a:ext cx="2893773" cy="1984199"/>
          </a:xfrm>
          <a:prstGeom prst="rect">
            <a:avLst/>
          </a:prstGeom>
          <a:solidFill>
            <a:schemeClr val="tx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A03A14E-9E2A-4B03-B572-31826354BFB3}"/>
              </a:ext>
            </a:extLst>
          </p:cNvPr>
          <p:cNvSpPr/>
          <p:nvPr/>
        </p:nvSpPr>
        <p:spPr>
          <a:xfrm>
            <a:off x="304800" y="3720825"/>
            <a:ext cx="2893773" cy="1909521"/>
          </a:xfrm>
          <a:prstGeom prst="rect">
            <a:avLst/>
          </a:prstGeom>
          <a:solidFill>
            <a:schemeClr val="tx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E50A048-9626-440C-85C1-28139FCD5216}"/>
              </a:ext>
            </a:extLst>
          </p:cNvPr>
          <p:cNvSpPr/>
          <p:nvPr/>
        </p:nvSpPr>
        <p:spPr>
          <a:xfrm>
            <a:off x="3282964" y="3720825"/>
            <a:ext cx="2893773" cy="1909521"/>
          </a:xfrm>
          <a:prstGeom prst="rect">
            <a:avLst/>
          </a:prstGeom>
          <a:solidFill>
            <a:schemeClr val="tx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77F9BDD-C8C3-4580-847E-F723590221B5}"/>
              </a:ext>
            </a:extLst>
          </p:cNvPr>
          <p:cNvSpPr/>
          <p:nvPr/>
        </p:nvSpPr>
        <p:spPr>
          <a:xfrm>
            <a:off x="6261127" y="3720825"/>
            <a:ext cx="2893773" cy="1909521"/>
          </a:xfrm>
          <a:prstGeom prst="rect">
            <a:avLst/>
          </a:prstGeom>
          <a:solidFill>
            <a:schemeClr val="tx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A2D8D4-1FE6-49C4-BA51-67589CA2FFAC}"/>
              </a:ext>
            </a:extLst>
          </p:cNvPr>
          <p:cNvSpPr/>
          <p:nvPr/>
        </p:nvSpPr>
        <p:spPr>
          <a:xfrm>
            <a:off x="9239290" y="3720825"/>
            <a:ext cx="2893773" cy="1909521"/>
          </a:xfrm>
          <a:prstGeom prst="rect">
            <a:avLst/>
          </a:prstGeom>
          <a:solidFill>
            <a:schemeClr val="tx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A8A5F1BA-EAF9-4575-B7CA-4CEE133CD374}"/>
              </a:ext>
            </a:extLst>
          </p:cNvPr>
          <p:cNvSpPr txBox="1">
            <a:spLocks/>
          </p:cNvSpPr>
          <p:nvPr/>
        </p:nvSpPr>
        <p:spPr>
          <a:xfrm>
            <a:off x="389191" y="4267974"/>
            <a:ext cx="2809382" cy="86177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Light" panose="020B0403030202060203" pitchFamily="34" charset="77"/>
                <a:ea typeface="+mj-ea"/>
                <a:cs typeface="+mj-cs"/>
              </a:rPr>
              <a:t>TREND</a:t>
            </a:r>
            <a:r>
              <a:rPr kumimoji="0" lang="it-IT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  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raphik" panose="020B0503030202060203" pitchFamily="34" charset="77"/>
                <a:ea typeface="+mj-ea"/>
                <a:cs typeface="+mj-cs"/>
              </a:rPr>
              <a:t>05</a:t>
            </a:r>
          </a:p>
          <a:p>
            <a:pPr lvl="0" algn="r">
              <a:lnSpc>
                <a:spcPts val="1980"/>
              </a:lnSpc>
              <a:defRPr/>
            </a:pPr>
            <a:r>
              <a:rPr lang="it-IT" sz="2400" b="1" i="1" dirty="0">
                <a:solidFill>
                  <a:prstClr val="white"/>
                </a:solidFill>
                <a:latin typeface="Graphik Super" panose="020B0503030202060203" pitchFamily="34" charset="77"/>
              </a:rPr>
              <a:t>AI Generative </a:t>
            </a:r>
            <a:r>
              <a:rPr lang="en-US" sz="2400" b="1" i="1" dirty="0">
                <a:solidFill>
                  <a:prstClr val="white"/>
                </a:solidFill>
                <a:latin typeface="Graphik Super" panose="020B0503030202060203" pitchFamily="34" charset="77"/>
              </a:rPr>
              <a:t>Supported</a:t>
            </a:r>
          </a:p>
        </p:txBody>
      </p:sp>
      <p:sp>
        <p:nvSpPr>
          <p:cNvPr id="34" name="Title 2">
            <a:extLst>
              <a:ext uri="{FF2B5EF4-FFF2-40B4-BE49-F238E27FC236}">
                <a16:creationId xmlns:a16="http://schemas.microsoft.com/office/drawing/2014/main" id="{1E469C2B-247D-4D18-8089-DCBD5E14353C}"/>
              </a:ext>
            </a:extLst>
          </p:cNvPr>
          <p:cNvSpPr txBox="1">
            <a:spLocks/>
          </p:cNvSpPr>
          <p:nvPr/>
        </p:nvSpPr>
        <p:spPr>
          <a:xfrm>
            <a:off x="3367355" y="4396214"/>
            <a:ext cx="2809382" cy="60529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Light" panose="020B0403030202060203" pitchFamily="34" charset="77"/>
                <a:ea typeface="+mj-ea"/>
                <a:cs typeface="+mj-cs"/>
              </a:rPr>
              <a:t>TREND</a:t>
            </a:r>
            <a:r>
              <a:rPr kumimoji="0" lang="it-IT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  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raphik" panose="020B0503030202060203" pitchFamily="34" charset="77"/>
                <a:ea typeface="+mj-ea"/>
                <a:cs typeface="+mj-cs"/>
              </a:rPr>
              <a:t>06</a:t>
            </a:r>
          </a:p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Super" panose="020B0503030202060203" pitchFamily="34" charset="77"/>
                <a:ea typeface="+mj-ea"/>
                <a:cs typeface="+mj-cs"/>
              </a:rPr>
              <a:t>Social</a:t>
            </a:r>
          </a:p>
        </p:txBody>
      </p:sp>
      <p:sp>
        <p:nvSpPr>
          <p:cNvPr id="35" name="Title 2">
            <a:extLst>
              <a:ext uri="{FF2B5EF4-FFF2-40B4-BE49-F238E27FC236}">
                <a16:creationId xmlns:a16="http://schemas.microsoft.com/office/drawing/2014/main" id="{1C6AB5B2-2A9A-4B24-9A34-B3EA88C183C8}"/>
              </a:ext>
            </a:extLst>
          </p:cNvPr>
          <p:cNvSpPr txBox="1">
            <a:spLocks/>
          </p:cNvSpPr>
          <p:nvPr/>
        </p:nvSpPr>
        <p:spPr>
          <a:xfrm>
            <a:off x="6345519" y="4387654"/>
            <a:ext cx="2809382" cy="62241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Light" panose="020B0403030202060203" pitchFamily="34" charset="77"/>
                <a:ea typeface="+mj-ea"/>
                <a:cs typeface="+mj-cs"/>
              </a:rPr>
              <a:t>TREND</a:t>
            </a:r>
            <a:r>
              <a:rPr kumimoji="0" lang="it-IT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  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it-IT" sz="1600" b="1" i="1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raphik" panose="020B0503030202060203" pitchFamily="34" charset="77"/>
                <a:ea typeface="+mj-ea"/>
                <a:cs typeface="+mj-cs"/>
              </a:rPr>
              <a:t>07</a:t>
            </a:r>
          </a:p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1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Super" panose="020B0503030202060203" pitchFamily="34" charset="77"/>
                <a:ea typeface="+mj-ea"/>
                <a:cs typeface="+mj-cs"/>
              </a:rPr>
              <a:t>Gamified</a:t>
            </a:r>
          </a:p>
        </p:txBody>
      </p:sp>
      <p:sp>
        <p:nvSpPr>
          <p:cNvPr id="36" name="Title 2">
            <a:extLst>
              <a:ext uri="{FF2B5EF4-FFF2-40B4-BE49-F238E27FC236}">
                <a16:creationId xmlns:a16="http://schemas.microsoft.com/office/drawing/2014/main" id="{52CEA0C9-64B5-4D36-ADC3-006852CCCD55}"/>
              </a:ext>
            </a:extLst>
          </p:cNvPr>
          <p:cNvSpPr txBox="1">
            <a:spLocks/>
          </p:cNvSpPr>
          <p:nvPr/>
        </p:nvSpPr>
        <p:spPr>
          <a:xfrm>
            <a:off x="9323683" y="4387654"/>
            <a:ext cx="2809382" cy="62241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Light" panose="020B0403030202060203" pitchFamily="34" charset="77"/>
                <a:ea typeface="+mj-ea"/>
                <a:cs typeface="+mj-cs"/>
              </a:rPr>
              <a:t>TREND</a:t>
            </a:r>
            <a:r>
              <a:rPr kumimoji="0" lang="it-IT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  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it-IT" sz="1600" b="1" i="1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raphik" panose="020B0503030202060203" pitchFamily="34" charset="77"/>
                <a:ea typeface="+mj-ea"/>
                <a:cs typeface="+mj-cs"/>
              </a:rPr>
              <a:t>08</a:t>
            </a:r>
          </a:p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Super" panose="020B0503030202060203" pitchFamily="34" charset="77"/>
                <a:ea typeface="+mj-ea"/>
                <a:cs typeface="+mj-cs"/>
              </a:rPr>
              <a:t>Immersive</a:t>
            </a:r>
          </a:p>
        </p:txBody>
      </p:sp>
      <p:sp>
        <p:nvSpPr>
          <p:cNvPr id="37" name="Title 2">
            <a:extLst>
              <a:ext uri="{FF2B5EF4-FFF2-40B4-BE49-F238E27FC236}">
                <a16:creationId xmlns:a16="http://schemas.microsoft.com/office/drawing/2014/main" id="{F22AE6BD-6D69-4175-A291-083186FEA81A}"/>
              </a:ext>
            </a:extLst>
          </p:cNvPr>
          <p:cNvSpPr txBox="1">
            <a:spLocks/>
          </p:cNvSpPr>
          <p:nvPr/>
        </p:nvSpPr>
        <p:spPr>
          <a:xfrm>
            <a:off x="389191" y="2198064"/>
            <a:ext cx="2809382" cy="62241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Light" panose="020B0403030202060203" pitchFamily="34" charset="77"/>
                <a:ea typeface="+mj-ea"/>
                <a:cs typeface="+mj-cs"/>
              </a:rPr>
              <a:t>TREND</a:t>
            </a:r>
            <a:r>
              <a:rPr kumimoji="0" lang="it-IT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  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it-IT" sz="1600" b="1" i="1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raphik" panose="020B0503030202060203" pitchFamily="34" charset="77"/>
                <a:ea typeface="+mj-ea"/>
                <a:cs typeface="+mj-cs"/>
              </a:rPr>
              <a:t>01</a:t>
            </a:r>
          </a:p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Super" panose="020B0503030202060203" pitchFamily="34" charset="77"/>
                <a:ea typeface="+mj-ea"/>
                <a:cs typeface="+mj-cs"/>
              </a:rPr>
              <a:t>Micro-media</a:t>
            </a:r>
          </a:p>
        </p:txBody>
      </p:sp>
      <p:sp>
        <p:nvSpPr>
          <p:cNvPr id="38" name="Title 2">
            <a:extLst>
              <a:ext uri="{FF2B5EF4-FFF2-40B4-BE49-F238E27FC236}">
                <a16:creationId xmlns:a16="http://schemas.microsoft.com/office/drawing/2014/main" id="{29A41BAC-B324-4470-9D8D-6F2D59A324F7}"/>
              </a:ext>
            </a:extLst>
          </p:cNvPr>
          <p:cNvSpPr txBox="1">
            <a:spLocks/>
          </p:cNvSpPr>
          <p:nvPr/>
        </p:nvSpPr>
        <p:spPr>
          <a:xfrm>
            <a:off x="9323683" y="2198064"/>
            <a:ext cx="2809382" cy="62241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Light" panose="020B0403030202060203" pitchFamily="34" charset="77"/>
                <a:ea typeface="+mj-ea"/>
                <a:cs typeface="+mj-cs"/>
              </a:rPr>
              <a:t>TREND</a:t>
            </a:r>
            <a:r>
              <a:rPr kumimoji="0" lang="it-IT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  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it-IT" sz="1600" b="1" i="1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raphik" panose="020B0503030202060203" pitchFamily="34" charset="77"/>
                <a:ea typeface="+mj-ea"/>
                <a:cs typeface="+mj-cs"/>
              </a:rPr>
              <a:t>04</a:t>
            </a:r>
          </a:p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1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Super" panose="020B0503030202060203" pitchFamily="34" charset="77"/>
                <a:ea typeface="+mj-ea"/>
                <a:cs typeface="+mj-cs"/>
              </a:rPr>
              <a:t>Contextual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B08D447C-07A3-436D-820A-F63BF3A348D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alphaModFix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8402" y="1684927"/>
            <a:ext cx="2893773" cy="1917699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47A351A-5A13-4C88-A96D-44AAD6C6751D}"/>
              </a:ext>
            </a:extLst>
          </p:cNvPr>
          <p:cNvSpPr/>
          <p:nvPr/>
        </p:nvSpPr>
        <p:spPr>
          <a:xfrm>
            <a:off x="6248402" y="1668530"/>
            <a:ext cx="2893773" cy="1942670"/>
          </a:xfrm>
          <a:prstGeom prst="rect">
            <a:avLst/>
          </a:prstGeom>
          <a:solidFill>
            <a:schemeClr val="tx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itle 2">
            <a:extLst>
              <a:ext uri="{FF2B5EF4-FFF2-40B4-BE49-F238E27FC236}">
                <a16:creationId xmlns:a16="http://schemas.microsoft.com/office/drawing/2014/main" id="{97897974-5B84-4588-9D9A-EC48FBA156D8}"/>
              </a:ext>
            </a:extLst>
          </p:cNvPr>
          <p:cNvSpPr txBox="1">
            <a:spLocks/>
          </p:cNvSpPr>
          <p:nvPr/>
        </p:nvSpPr>
        <p:spPr>
          <a:xfrm>
            <a:off x="6332793" y="2198064"/>
            <a:ext cx="2809382" cy="62241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Light" panose="020B0403030202060203" pitchFamily="34" charset="77"/>
                <a:ea typeface="+mj-ea"/>
                <a:cs typeface="+mj-cs"/>
              </a:rPr>
              <a:t>TREND</a:t>
            </a:r>
            <a:r>
              <a:rPr kumimoji="0" lang="it-IT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  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raphik" panose="020B0503030202060203" pitchFamily="34" charset="77"/>
                <a:ea typeface="+mj-ea"/>
                <a:cs typeface="+mj-cs"/>
              </a:rPr>
              <a:t>03</a:t>
            </a:r>
          </a:p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1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Super" panose="020B0503030202060203" pitchFamily="34" charset="77"/>
                <a:ea typeface="+mj-ea"/>
                <a:cs typeface="+mj-cs"/>
              </a:rPr>
              <a:t>Personalized</a:t>
            </a:r>
          </a:p>
        </p:txBody>
      </p:sp>
      <p:pic>
        <p:nvPicPr>
          <p:cNvPr id="46" name="Grafik 4">
            <a:extLst>
              <a:ext uri="{FF2B5EF4-FFF2-40B4-BE49-F238E27FC236}">
                <a16:creationId xmlns:a16="http://schemas.microsoft.com/office/drawing/2014/main" id="{416806F6-005D-4751-918C-3DCE61E3871D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67618" y="1672111"/>
            <a:ext cx="2893773" cy="1942670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B7516D7E-90CD-4729-87FF-53FECBECAAC2}"/>
              </a:ext>
            </a:extLst>
          </p:cNvPr>
          <p:cNvSpPr/>
          <p:nvPr/>
        </p:nvSpPr>
        <p:spPr>
          <a:xfrm>
            <a:off x="3267618" y="1668530"/>
            <a:ext cx="2893773" cy="1942670"/>
          </a:xfrm>
          <a:prstGeom prst="rect">
            <a:avLst/>
          </a:prstGeom>
          <a:solidFill>
            <a:schemeClr val="tx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itle 2">
            <a:extLst>
              <a:ext uri="{FF2B5EF4-FFF2-40B4-BE49-F238E27FC236}">
                <a16:creationId xmlns:a16="http://schemas.microsoft.com/office/drawing/2014/main" id="{A864A0DB-EB22-44A1-91EF-4B86D2F0D46E}"/>
              </a:ext>
            </a:extLst>
          </p:cNvPr>
          <p:cNvSpPr txBox="1">
            <a:spLocks/>
          </p:cNvSpPr>
          <p:nvPr/>
        </p:nvSpPr>
        <p:spPr>
          <a:xfrm>
            <a:off x="3352010" y="2198064"/>
            <a:ext cx="2809382" cy="86177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Light" panose="020B0403030202060203" pitchFamily="34" charset="77"/>
                <a:ea typeface="+mj-ea"/>
                <a:cs typeface="+mj-cs"/>
              </a:rPr>
              <a:t>TREND</a:t>
            </a:r>
            <a:r>
              <a:rPr kumimoji="0" lang="it-IT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  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raphik" panose="020B0503030202060203" pitchFamily="34" charset="77"/>
                <a:ea typeface="+mj-ea"/>
                <a:cs typeface="+mj-cs"/>
              </a:rPr>
              <a:t>02</a:t>
            </a:r>
          </a:p>
          <a:p>
            <a:pPr marL="0" marR="0" lvl="0" indent="0" algn="r" defTabSz="914400" rtl="0" eaLnBrk="1" fontAlgn="auto" latinLnBrk="0" hangingPunct="1">
              <a:lnSpc>
                <a:spcPts val="19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1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Super" panose="020B0503030202060203" pitchFamily="34" charset="77"/>
                <a:ea typeface="+mj-ea"/>
                <a:cs typeface="+mj-cs"/>
              </a:rPr>
              <a:t>Anytime, Anywhere</a:t>
            </a:r>
          </a:p>
        </p:txBody>
      </p:sp>
      <p:sp>
        <p:nvSpPr>
          <p:cNvPr id="55" name="Title 2">
            <a:extLst>
              <a:ext uri="{FF2B5EF4-FFF2-40B4-BE49-F238E27FC236}">
                <a16:creationId xmlns:a16="http://schemas.microsoft.com/office/drawing/2014/main" id="{C3812555-6080-4023-A13C-05C61F39E5FA}"/>
              </a:ext>
            </a:extLst>
          </p:cNvPr>
          <p:cNvSpPr txBox="1">
            <a:spLocks/>
          </p:cNvSpPr>
          <p:nvPr/>
        </p:nvSpPr>
        <p:spPr>
          <a:xfrm>
            <a:off x="404572" y="411422"/>
            <a:ext cx="10755264" cy="856549"/>
          </a:xfrm>
          <a:prstGeom prst="rect">
            <a:avLst/>
          </a:prstGeom>
        </p:spPr>
        <p:txBody>
          <a:bodyPr vert="horz" lIns="91440" tIns="0" rIns="91440" bIns="45720" rtlCol="0" anchor="ctr">
            <a:noAutofit/>
          </a:bodyPr>
          <a:lstStyle>
            <a:defPPr>
              <a:defRPr lang="it-IT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it-IT" altLang="en-US" sz="3100" dirty="0">
                <a:solidFill>
                  <a:prstClr val="black"/>
                </a:solidFill>
              </a:rPr>
              <a:t>«New Learning Experience» supportata dalle tecnologie</a:t>
            </a:r>
            <a:endParaRPr kumimoji="0" lang="it-IT" altLang="en-US" sz="31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 Black" panose="020B0A03030202060203" pitchFamily="34" charset="0"/>
              <a:ea typeface="+mj-ea"/>
              <a:cs typeface="+mj-cs"/>
            </a:endParaRP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0756FC15-AABA-CC0A-0E5C-DE737213950A}"/>
              </a:ext>
            </a:extLst>
          </p:cNvPr>
          <p:cNvSpPr txBox="1">
            <a:spLocks/>
          </p:cNvSpPr>
          <p:nvPr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 dirty="0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92858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90D6E-15B1-489E-BEBA-E3C7393A7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811000" cy="800100"/>
          </a:xfrm>
        </p:spPr>
        <p:txBody>
          <a:bodyPr/>
          <a:lstStyle/>
          <a:p>
            <a:r>
              <a:rPr lang="it-IT" sz="2800" b="0" dirty="0">
                <a:solidFill>
                  <a:srgbClr val="002060"/>
                </a:solidFill>
                <a:latin typeface="Graphik Black"/>
              </a:rPr>
              <a:t>DIGITAL SKILLS PER ACCELERARE LA DIGITAL </a:t>
            </a:r>
            <a:r>
              <a:rPr lang="en-AU" sz="2800" b="0" dirty="0">
                <a:solidFill>
                  <a:srgbClr val="002060"/>
                </a:solidFill>
                <a:latin typeface="Graphik Black"/>
              </a:rPr>
              <a:t>FLUENCY</a:t>
            </a:r>
            <a:br>
              <a:rPr lang="en-AU" sz="2800" b="0" dirty="0">
                <a:gradFill>
                  <a:gsLst>
                    <a:gs pos="100000">
                      <a:srgbClr val="7500C0"/>
                    </a:gs>
                    <a:gs pos="0">
                      <a:srgbClr val="D183FF"/>
                    </a:gs>
                  </a:gsLst>
                  <a:lin ang="16800000" scaled="0"/>
                </a:gradFill>
                <a:latin typeface="Graphik Black"/>
              </a:rPr>
            </a:br>
            <a:r>
              <a:rPr lang="en-AU" sz="2800" b="0" dirty="0">
                <a:gradFill>
                  <a:gsLst>
                    <a:gs pos="100000">
                      <a:srgbClr val="7500C0"/>
                    </a:gs>
                    <a:gs pos="0">
                      <a:srgbClr val="D183FF"/>
                    </a:gs>
                  </a:gsLst>
                  <a:lin ang="16800000" scaled="0"/>
                </a:gradFill>
                <a:latin typeface="Graphik Black"/>
              </a:rPr>
              <a:t>Caso Accenture</a:t>
            </a:r>
            <a:br>
              <a:rPr lang="it-IT" sz="2800" b="0" dirty="0">
                <a:gradFill>
                  <a:gsLst>
                    <a:gs pos="100000">
                      <a:srgbClr val="7500C0"/>
                    </a:gs>
                    <a:gs pos="0">
                      <a:srgbClr val="D183FF"/>
                    </a:gs>
                  </a:gsLst>
                  <a:lin ang="16800000" scaled="0"/>
                </a:gradFill>
                <a:latin typeface="Graphik Black"/>
              </a:rPr>
            </a:br>
            <a:endParaRPr lang="it-IT" sz="2800" b="0" dirty="0">
              <a:gradFill>
                <a:gsLst>
                  <a:gs pos="100000">
                    <a:srgbClr val="7500C0"/>
                  </a:gs>
                  <a:gs pos="0">
                    <a:srgbClr val="D183FF"/>
                  </a:gs>
                </a:gsLst>
                <a:lin ang="16800000" scaled="0"/>
              </a:gradFill>
              <a:latin typeface="Graphik Black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1E600C-8076-44EA-B55B-D7C9F74F10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it-IT"/>
              <a:t>Copyright © 2022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1BD0AA-37CF-44A4-BB65-639D69D93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it-IT" smtClean="0"/>
              <a:pPr/>
              <a:t>11</a:t>
            </a:fld>
            <a:endParaRPr lang="it-IT"/>
          </a:p>
        </p:txBody>
      </p:sp>
      <p:sp>
        <p:nvSpPr>
          <p:cNvPr id="202" name="Text Placeholder 4">
            <a:extLst>
              <a:ext uri="{FF2B5EF4-FFF2-40B4-BE49-F238E27FC236}">
                <a16:creationId xmlns:a16="http://schemas.microsoft.com/office/drawing/2014/main" id="{1F62880C-9B5E-4294-868D-EE33CEB03723}"/>
              </a:ext>
            </a:extLst>
          </p:cNvPr>
          <p:cNvSpPr txBox="1">
            <a:spLocks/>
          </p:cNvSpPr>
          <p:nvPr/>
        </p:nvSpPr>
        <p:spPr>
          <a:xfrm>
            <a:off x="368475" y="1164597"/>
            <a:ext cx="5727525" cy="1134727"/>
          </a:xfrm>
          <a:prstGeom prst="rect">
            <a:avLst/>
          </a:prstGeom>
        </p:spPr>
        <p:txBody>
          <a:bodyPr/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hangingPunct="0">
              <a:spcBef>
                <a:spcPts val="600"/>
              </a:spcBef>
              <a:buClr>
                <a:schemeClr val="tx1"/>
              </a:buClr>
              <a:buSzPct val="100000"/>
              <a:buNone/>
            </a:pPr>
            <a:r>
              <a:rPr lang="it-IT" sz="1600" b="1" kern="0">
                <a:latin typeface="+mj-lt"/>
              </a:rPr>
              <a:t>Il programma Digital Skills (Technology </a:t>
            </a:r>
            <a:r>
              <a:rPr lang="it-IT" sz="1600" b="1" kern="0" err="1">
                <a:latin typeface="+mj-lt"/>
              </a:rPr>
              <a:t>Quotient</a:t>
            </a:r>
            <a:r>
              <a:rPr lang="it-IT" sz="1600" b="1" kern="0">
                <a:latin typeface="+mj-lt"/>
              </a:rPr>
              <a:t> - TQ) è un percorso di apprendimento per conoscere in modo semplice le tecnologie digitali in trasformazione: cosa sono, come vengono applicate, perché sono importanti.</a:t>
            </a:r>
            <a:endParaRPr lang="it-IT" sz="1200">
              <a:latin typeface="+mj-lt"/>
            </a:endParaRP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21E5E377-60DD-4B95-A894-25AB308CD6D8}"/>
              </a:ext>
            </a:extLst>
          </p:cNvPr>
          <p:cNvGrpSpPr/>
          <p:nvPr/>
        </p:nvGrpSpPr>
        <p:grpSpPr>
          <a:xfrm>
            <a:off x="5340627" y="1484243"/>
            <a:ext cx="6851374" cy="5172187"/>
            <a:chOff x="5212531" y="1240208"/>
            <a:chExt cx="6976344" cy="5485176"/>
          </a:xfrm>
        </p:grpSpPr>
        <p:pic>
          <p:nvPicPr>
            <p:cNvPr id="205" name="Picture 204" descr="A picture containing indoor, sitting, laptop, computer&#10;&#10;Description automatically generated">
              <a:extLst>
                <a:ext uri="{FF2B5EF4-FFF2-40B4-BE49-F238E27FC236}">
                  <a16:creationId xmlns:a16="http://schemas.microsoft.com/office/drawing/2014/main" id="{3FDEA647-AEE3-4A85-B6E8-617BE6F79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12531" y="1240208"/>
              <a:ext cx="6976344" cy="5485176"/>
            </a:xfrm>
            <a:prstGeom prst="rect">
              <a:avLst/>
            </a:prstGeom>
          </p:spPr>
        </p:pic>
        <p:pic>
          <p:nvPicPr>
            <p:cNvPr id="206" name="Picture 205">
              <a:extLst>
                <a:ext uri="{FF2B5EF4-FFF2-40B4-BE49-F238E27FC236}">
                  <a16:creationId xmlns:a16="http://schemas.microsoft.com/office/drawing/2014/main" id="{B51EEBDA-A8B2-4FCB-ACB6-DFC2AD7746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16154" y="1849515"/>
              <a:ext cx="5672721" cy="4060526"/>
            </a:xfrm>
            <a:prstGeom prst="rect">
              <a:avLst/>
            </a:prstGeom>
          </p:spPr>
        </p:pic>
      </p:grpSp>
      <p:sp>
        <p:nvSpPr>
          <p:cNvPr id="207" name="Title 2">
            <a:extLst>
              <a:ext uri="{FF2B5EF4-FFF2-40B4-BE49-F238E27FC236}">
                <a16:creationId xmlns:a16="http://schemas.microsoft.com/office/drawing/2014/main" id="{4DB9974D-F717-4052-ABED-9AE7FC551010}"/>
              </a:ext>
            </a:extLst>
          </p:cNvPr>
          <p:cNvSpPr txBox="1">
            <a:spLocks/>
          </p:cNvSpPr>
          <p:nvPr/>
        </p:nvSpPr>
        <p:spPr>
          <a:xfrm>
            <a:off x="442281" y="2551193"/>
            <a:ext cx="4425201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 cap="none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20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ea typeface="+mj-ea"/>
                <a:cs typeface="+mj-cs"/>
              </a:rPr>
              <a:t>Il percorso di Accenture nel TQ</a:t>
            </a:r>
          </a:p>
        </p:txBody>
      </p:sp>
      <p:sp>
        <p:nvSpPr>
          <p:cNvPr id="208" name="Content Placeholder 13">
            <a:extLst>
              <a:ext uri="{FF2B5EF4-FFF2-40B4-BE49-F238E27FC236}">
                <a16:creationId xmlns:a16="http://schemas.microsoft.com/office/drawing/2014/main" id="{44DBBC50-8CBB-4B0D-A008-E7175D458F57}"/>
              </a:ext>
            </a:extLst>
          </p:cNvPr>
          <p:cNvSpPr txBox="1">
            <a:spLocks/>
          </p:cNvSpPr>
          <p:nvPr/>
        </p:nvSpPr>
        <p:spPr>
          <a:xfrm>
            <a:off x="659534" y="2994302"/>
            <a:ext cx="4739182" cy="1521373"/>
          </a:xfrm>
          <a:prstGeom prst="rect">
            <a:avLst/>
          </a:prstGeom>
        </p:spPr>
        <p:txBody>
          <a:bodyPr vert="horz" lIns="0" tIns="0" rIns="0" bIns="0" numCol="1" spcCol="360000" rtlCol="0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System Font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System Font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A100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3200" b="1" i="0" u="none" strike="noStrike" kern="1200" cap="none" spc="0" normalizeH="0" baseline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375,000+ </a:t>
            </a:r>
            <a:r>
              <a:rPr kumimoji="0" lang="it-IT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ersone coinvolte attivamente nel percorso di apprendimento TQ</a:t>
            </a:r>
          </a:p>
        </p:txBody>
      </p:sp>
      <p:sp>
        <p:nvSpPr>
          <p:cNvPr id="209" name="Content Placeholder 13">
            <a:extLst>
              <a:ext uri="{FF2B5EF4-FFF2-40B4-BE49-F238E27FC236}">
                <a16:creationId xmlns:a16="http://schemas.microsoft.com/office/drawing/2014/main" id="{90038B7E-57C0-401B-9306-EAFAD4A68854}"/>
              </a:ext>
            </a:extLst>
          </p:cNvPr>
          <p:cNvSpPr txBox="1">
            <a:spLocks/>
          </p:cNvSpPr>
          <p:nvPr/>
        </p:nvSpPr>
        <p:spPr>
          <a:xfrm>
            <a:off x="652380" y="3926909"/>
            <a:ext cx="4425202" cy="973423"/>
          </a:xfrm>
          <a:prstGeom prst="rect">
            <a:avLst/>
          </a:prstGeom>
        </p:spPr>
        <p:txBody>
          <a:bodyPr vert="horz" lIns="0" tIns="0" rIns="0" bIns="0" numCol="1" spcCol="360000" rtlCol="0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System Font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System Font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B455A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sz="3200" b="1" dirty="0">
                <a:solidFill>
                  <a:srgbClr val="A100FF"/>
                </a:solidFill>
                <a:latin typeface="Graphik"/>
              </a:rPr>
              <a:t>8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0%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elle persone Accenture ha guadagnato un punteggio TQ che rispecchia il proprio livello di padronanza delle diverse tecnologie</a:t>
            </a:r>
          </a:p>
        </p:txBody>
      </p:sp>
      <p:sp>
        <p:nvSpPr>
          <p:cNvPr id="210" name="Content Placeholder 13">
            <a:extLst>
              <a:ext uri="{FF2B5EF4-FFF2-40B4-BE49-F238E27FC236}">
                <a16:creationId xmlns:a16="http://schemas.microsoft.com/office/drawing/2014/main" id="{4DAB4F06-3CD4-41FA-AB2F-A145F187493B}"/>
              </a:ext>
            </a:extLst>
          </p:cNvPr>
          <p:cNvSpPr txBox="1">
            <a:spLocks/>
          </p:cNvSpPr>
          <p:nvPr/>
        </p:nvSpPr>
        <p:spPr>
          <a:xfrm>
            <a:off x="659534" y="5221431"/>
            <a:ext cx="4851152" cy="918437"/>
          </a:xfrm>
          <a:prstGeom prst="rect">
            <a:avLst/>
          </a:prstGeom>
        </p:spPr>
        <p:txBody>
          <a:bodyPr vert="horz" lIns="0" tIns="0" rIns="0" bIns="0" numCol="1" spcCol="360000" rtlCol="0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System Font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System Font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B455A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sz="1600">
                <a:solidFill>
                  <a:srgbClr val="000000"/>
                </a:solidFill>
                <a:latin typeface="Graphik"/>
              </a:rPr>
              <a:t>Si è riscontrato il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32%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di crescita nella </a:t>
            </a:r>
            <a:r>
              <a:rPr kumimoji="0" lang="en-AU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echnology fluency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d oggi</a:t>
            </a:r>
          </a:p>
        </p:txBody>
      </p: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0674F4F4-A504-4A14-8A34-B3703CEE341D}"/>
              </a:ext>
            </a:extLst>
          </p:cNvPr>
          <p:cNvCxnSpPr>
            <a:cxnSpLocks/>
          </p:cNvCxnSpPr>
          <p:nvPr/>
        </p:nvCxnSpPr>
        <p:spPr>
          <a:xfrm>
            <a:off x="467449" y="4154905"/>
            <a:ext cx="0" cy="822960"/>
          </a:xfrm>
          <a:prstGeom prst="line">
            <a:avLst/>
          </a:prstGeom>
          <a:ln w="25400">
            <a:solidFill>
              <a:srgbClr val="A1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5845376A-D801-449D-A262-E14736E5EDF1}"/>
              </a:ext>
            </a:extLst>
          </p:cNvPr>
          <p:cNvCxnSpPr>
            <a:cxnSpLocks/>
          </p:cNvCxnSpPr>
          <p:nvPr/>
        </p:nvCxnSpPr>
        <p:spPr>
          <a:xfrm>
            <a:off x="462645" y="5316908"/>
            <a:ext cx="0" cy="822960"/>
          </a:xfrm>
          <a:prstGeom prst="line">
            <a:avLst/>
          </a:prstGeom>
          <a:ln w="25400">
            <a:solidFill>
              <a:srgbClr val="A1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tangle 212">
            <a:extLst>
              <a:ext uri="{FF2B5EF4-FFF2-40B4-BE49-F238E27FC236}">
                <a16:creationId xmlns:a16="http://schemas.microsoft.com/office/drawing/2014/main" id="{B3773770-5FD8-48E0-BB94-55C2C2EA69DD}"/>
              </a:ext>
            </a:extLst>
          </p:cNvPr>
          <p:cNvSpPr/>
          <p:nvPr/>
        </p:nvSpPr>
        <p:spPr>
          <a:xfrm>
            <a:off x="670776" y="6342632"/>
            <a:ext cx="42755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Technology </a:t>
            </a:r>
            <a:r>
              <a:rPr kumimoji="0" lang="it-IT" sz="2000" b="1" i="1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is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 our new language</a:t>
            </a:r>
          </a:p>
        </p:txBody>
      </p: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E5815333-A0CB-4BE4-A531-D3E469A8E3CC}"/>
              </a:ext>
            </a:extLst>
          </p:cNvPr>
          <p:cNvCxnSpPr>
            <a:cxnSpLocks/>
          </p:cNvCxnSpPr>
          <p:nvPr/>
        </p:nvCxnSpPr>
        <p:spPr>
          <a:xfrm>
            <a:off x="462645" y="3017520"/>
            <a:ext cx="0" cy="822960"/>
          </a:xfrm>
          <a:prstGeom prst="line">
            <a:avLst/>
          </a:prstGeom>
          <a:ln w="25400">
            <a:solidFill>
              <a:srgbClr val="A1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5" name="Picture 214">
            <a:extLst>
              <a:ext uri="{FF2B5EF4-FFF2-40B4-BE49-F238E27FC236}">
                <a16:creationId xmlns:a16="http://schemas.microsoft.com/office/drawing/2014/main" id="{A0C31B73-20D3-487C-AE70-C9AFFA2400E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25" t="6190" r="51340" b="28564"/>
          <a:stretch/>
        </p:blipFill>
        <p:spPr>
          <a:xfrm>
            <a:off x="9769826" y="3305762"/>
            <a:ext cx="2235424" cy="2017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076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A5BF1BF-DC49-A35C-C485-644022EE6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Mismatching</a:t>
            </a:r>
            <a:r>
              <a:rPr lang="it-IT" dirty="0"/>
              <a:t> strutturale tra domande e offerta di competenze sul mercato del </a:t>
            </a:r>
            <a:r>
              <a:rPr lang="it-IT" dirty="0" err="1"/>
              <a:t>alvoro</a:t>
            </a:r>
            <a:endParaRPr lang="it-IT" dirty="0"/>
          </a:p>
        </p:txBody>
      </p:sp>
      <p:sp>
        <p:nvSpPr>
          <p:cNvPr id="4" name="Segnaposto contenuto 2">
            <a:extLst>
              <a:ext uri="{FF2B5EF4-FFF2-40B4-BE49-F238E27FC236}">
                <a16:creationId xmlns:a16="http://schemas.microsoft.com/office/drawing/2014/main" id="{B9099795-635C-6163-01BC-040E6C775A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727600"/>
            <a:ext cx="11430000" cy="38404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it-IT" sz="1600" b="1" dirty="0">
                <a:solidFill>
                  <a:srgbClr val="A100FF"/>
                </a:solidFill>
                <a:latin typeface="+mn-lt"/>
              </a:rPr>
              <a:t>Focus Italia – dati Unioncamere e </a:t>
            </a:r>
            <a:r>
              <a:rPr lang="it-IT" sz="1600" b="1" dirty="0" err="1">
                <a:solidFill>
                  <a:srgbClr val="A100FF"/>
                </a:solidFill>
                <a:latin typeface="+mn-lt"/>
              </a:rPr>
              <a:t>Anpal</a:t>
            </a:r>
            <a:r>
              <a:rPr lang="it-IT" sz="1600" b="1" dirty="0">
                <a:solidFill>
                  <a:srgbClr val="A100FF"/>
                </a:solidFill>
                <a:latin typeface="+mn-lt"/>
              </a:rPr>
              <a:t> - 40% di offerte di lavoro non coperte per mancanza di competenze</a:t>
            </a:r>
          </a:p>
          <a:p>
            <a:pPr marL="0" indent="0">
              <a:buNone/>
            </a:pPr>
            <a:endParaRPr lang="it-IT" sz="1600" b="1" dirty="0">
              <a:solidFill>
                <a:srgbClr val="A100FF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rgbClr val="000000"/>
                </a:solidFill>
                <a:latin typeface="+mn-lt"/>
              </a:rPr>
              <a:t>Tra 1,3 e 1,7 milioni di nuovi posti di lavoro da ora al 202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rgbClr val="000000"/>
                </a:solidFill>
                <a:latin typeface="+mn-lt"/>
              </a:rPr>
              <a:t>circa il 40% nel 2022 sono risultati «introvabili» perché connessi ad esempio a competenze Digitali o Green non presenti sul mercato (circa quindi 500-700 mila posti di lavoro «in the new»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rgbClr val="000000"/>
                </a:solidFill>
                <a:latin typeface="+mn-lt"/>
              </a:rPr>
              <a:t>Tale Gap risulta inoltre sempre più ampio nel tempo: la % di profili introvabili era solo del 27% ad aprile 2019</a:t>
            </a:r>
          </a:p>
          <a:p>
            <a:endParaRPr lang="it-IT" sz="1800" dirty="0">
              <a:solidFill>
                <a:srgbClr val="000000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it-IT" sz="1800" dirty="0">
              <a:solidFill>
                <a:srgbClr val="000000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it-IT" sz="1600" b="1" dirty="0">
                <a:solidFill>
                  <a:srgbClr val="A100FF"/>
                </a:solidFill>
                <a:latin typeface="+mn-lt"/>
              </a:rPr>
              <a:t>Focus Europa - rischio gap di 6,7 milioni di specialisti </a:t>
            </a:r>
            <a:r>
              <a:rPr lang="it-IT" sz="1600" b="1" dirty="0" err="1">
                <a:solidFill>
                  <a:srgbClr val="A100FF"/>
                </a:solidFill>
                <a:latin typeface="+mn-lt"/>
              </a:rPr>
              <a:t>HiTech</a:t>
            </a:r>
            <a:r>
              <a:rPr lang="it-IT" sz="1600" b="1" dirty="0">
                <a:solidFill>
                  <a:srgbClr val="A100FF"/>
                </a:solidFill>
                <a:latin typeface="+mn-lt"/>
              </a:rPr>
              <a:t> nel 2030</a:t>
            </a:r>
          </a:p>
          <a:p>
            <a:pPr marL="0" indent="0">
              <a:buNone/>
            </a:pPr>
            <a:endParaRPr lang="it-IT" sz="1600" b="1" dirty="0">
              <a:solidFill>
                <a:srgbClr val="A100FF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rgbClr val="000000"/>
                </a:solidFill>
                <a:latin typeface="+mn-lt"/>
              </a:rPr>
              <a:t>Obiettivo Digital </a:t>
            </a:r>
            <a:r>
              <a:rPr lang="it-IT" sz="1600" dirty="0" err="1">
                <a:solidFill>
                  <a:srgbClr val="000000"/>
                </a:solidFill>
                <a:latin typeface="+mn-lt"/>
              </a:rPr>
              <a:t>Compass</a:t>
            </a:r>
            <a:r>
              <a:rPr lang="it-IT" sz="1600" dirty="0">
                <a:solidFill>
                  <a:srgbClr val="000000"/>
                </a:solidFill>
                <a:latin typeface="+mn-lt"/>
              </a:rPr>
              <a:t> 2030: 20 milioni di lavoratori previsti in ambito «digital </a:t>
            </a:r>
            <a:r>
              <a:rPr lang="it-IT" sz="1600" dirty="0" err="1">
                <a:solidFill>
                  <a:srgbClr val="000000"/>
                </a:solidFill>
                <a:latin typeface="+mn-lt"/>
              </a:rPr>
              <a:t>specialists</a:t>
            </a:r>
            <a:r>
              <a:rPr lang="it-IT" sz="1600" dirty="0">
                <a:solidFill>
                  <a:srgbClr val="000000"/>
                </a:solidFill>
                <a:latin typeface="+mn-lt"/>
              </a:rPr>
              <a:t>»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rgbClr val="000000"/>
                </a:solidFill>
                <a:latin typeface="+mn-lt"/>
              </a:rPr>
              <a:t>Le proiezioni attuali prevedono però che tale popolazione di specialisti si attesterà nel 2030 a soli 13.3 milioni con un gap di 6,7 milioni di specialisti digitali – circa il 33% del tota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rgbClr val="000000"/>
                </a:solidFill>
                <a:latin typeface="+mn-lt"/>
              </a:rPr>
              <a:t>In termini di «skill digitali» il gap previsto è ancora più alto, si prevede che circa l’80% della popolazione adulta dovrebbe avere skill digitali di base entro il 2030, quando si prevede invece una copertura di solo il 64% - oltre il 16% sotto il target previsto  </a:t>
            </a:r>
          </a:p>
          <a:p>
            <a:endParaRPr lang="it-IT" sz="1800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B6A10B4-FC66-8BAD-8DF4-C0CF01C133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 dirty="0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6521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2">
            <a:extLst>
              <a:ext uri="{FF2B5EF4-FFF2-40B4-BE49-F238E27FC236}">
                <a16:creationId xmlns:a16="http://schemas.microsoft.com/office/drawing/2014/main" id="{B9099795-635C-6163-01BC-040E6C775A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9570" y="1157479"/>
            <a:ext cx="4354922" cy="53454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it-IT" sz="1600" b="1" dirty="0">
                <a:solidFill>
                  <a:srgbClr val="A055F5"/>
                </a:solidFill>
              </a:rPr>
              <a:t>TOP </a:t>
            </a:r>
            <a:r>
              <a:rPr lang="it-IT" sz="1600" b="1" dirty="0" err="1">
                <a:solidFill>
                  <a:srgbClr val="A055F5"/>
                </a:solidFill>
              </a:rPr>
              <a:t>emerging</a:t>
            </a:r>
            <a:r>
              <a:rPr lang="it-IT" sz="1600" b="1" dirty="0">
                <a:solidFill>
                  <a:srgbClr val="A055F5"/>
                </a:solidFill>
              </a:rPr>
              <a:t> Job – Italia </a:t>
            </a:r>
            <a:br>
              <a:rPr lang="it-IT" sz="1600" b="1" dirty="0">
                <a:solidFill>
                  <a:srgbClr val="A055F5"/>
                </a:solidFill>
              </a:rPr>
            </a:br>
            <a:r>
              <a:rPr lang="it-IT" sz="1600" b="1" dirty="0">
                <a:solidFill>
                  <a:srgbClr val="A055F5"/>
                </a:solidFill>
              </a:rPr>
              <a:t>(dati World </a:t>
            </a:r>
            <a:r>
              <a:rPr lang="it-IT" sz="1600" b="1" dirty="0" err="1">
                <a:solidFill>
                  <a:srgbClr val="A055F5"/>
                </a:solidFill>
              </a:rPr>
              <a:t>Economic</a:t>
            </a:r>
            <a:r>
              <a:rPr lang="it-IT" sz="1600" b="1" dirty="0">
                <a:solidFill>
                  <a:srgbClr val="A055F5"/>
                </a:solidFill>
              </a:rPr>
              <a:t> Forum) 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84D61A7F-7C25-CD3C-90AC-200B1E89D08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306" t="37228" r="55462" b="15713"/>
          <a:stretch/>
        </p:blipFill>
        <p:spPr>
          <a:xfrm>
            <a:off x="851777" y="1997292"/>
            <a:ext cx="4730541" cy="4454759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EF9A9978-7A9A-3DB2-5316-0ECAC9A451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64"/>
          <a:stretch/>
        </p:blipFill>
        <p:spPr bwMode="auto">
          <a:xfrm>
            <a:off x="6020888" y="1697326"/>
            <a:ext cx="5723707" cy="479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578D1CC7-E17B-A17B-58B2-62D38C4C04AA}"/>
              </a:ext>
            </a:extLst>
          </p:cNvPr>
          <p:cNvSpPr txBox="1">
            <a:spLocks/>
          </p:cNvSpPr>
          <p:nvPr/>
        </p:nvSpPr>
        <p:spPr>
          <a:xfrm>
            <a:off x="6125598" y="1157479"/>
            <a:ext cx="4354922" cy="5345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 sz="1600" b="1" dirty="0">
                <a:solidFill>
                  <a:srgbClr val="A055F5"/>
                </a:solidFill>
              </a:rPr>
              <a:t>TOP </a:t>
            </a:r>
            <a:r>
              <a:rPr lang="it-IT" sz="1600" b="1" dirty="0" err="1">
                <a:solidFill>
                  <a:srgbClr val="A055F5"/>
                </a:solidFill>
              </a:rPr>
              <a:t>emerging</a:t>
            </a:r>
            <a:r>
              <a:rPr lang="it-IT" sz="1600" b="1" dirty="0">
                <a:solidFill>
                  <a:srgbClr val="A055F5"/>
                </a:solidFill>
              </a:rPr>
              <a:t> Job – World Wide </a:t>
            </a:r>
            <a:br>
              <a:rPr lang="it-IT" sz="1600" b="1" dirty="0">
                <a:solidFill>
                  <a:srgbClr val="A055F5"/>
                </a:solidFill>
              </a:rPr>
            </a:br>
            <a:r>
              <a:rPr lang="it-IT" sz="1600" b="1" dirty="0">
                <a:solidFill>
                  <a:srgbClr val="A055F5"/>
                </a:solidFill>
              </a:rPr>
              <a:t>(dati World </a:t>
            </a:r>
            <a:r>
              <a:rPr lang="it-IT" sz="1600" b="1" dirty="0" err="1">
                <a:solidFill>
                  <a:srgbClr val="A055F5"/>
                </a:solidFill>
              </a:rPr>
              <a:t>Economic</a:t>
            </a:r>
            <a:r>
              <a:rPr lang="it-IT" sz="1600" b="1" dirty="0">
                <a:solidFill>
                  <a:srgbClr val="A055F5"/>
                </a:solidFill>
              </a:rPr>
              <a:t> Forum) </a:t>
            </a:r>
          </a:p>
        </p:txBody>
      </p:sp>
      <p:sp>
        <p:nvSpPr>
          <p:cNvPr id="8" name="Titolo 7">
            <a:extLst>
              <a:ext uri="{FF2B5EF4-FFF2-40B4-BE49-F238E27FC236}">
                <a16:creationId xmlns:a16="http://schemas.microsoft.com/office/drawing/2014/main" id="{30DB74A9-DE2D-0DDD-F7D4-948DA4048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it-IT" dirty="0"/>
              <a:t>Mestieri emergenti e mestieri in estinzione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58A3B19-B3DF-2D95-2369-BE74AD03DBBE}"/>
              </a:ext>
            </a:extLst>
          </p:cNvPr>
          <p:cNvSpPr txBox="1">
            <a:spLocks/>
          </p:cNvSpPr>
          <p:nvPr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151307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>
            <a:extLst>
              <a:ext uri="{FF2B5EF4-FFF2-40B4-BE49-F238E27FC236}">
                <a16:creationId xmlns:a16="http://schemas.microsoft.com/office/drawing/2014/main" id="{717B3009-E891-9806-96AA-FC8141295D63}"/>
              </a:ext>
            </a:extLst>
          </p:cNvPr>
          <p:cNvSpPr/>
          <p:nvPr/>
        </p:nvSpPr>
        <p:spPr>
          <a:xfrm>
            <a:off x="2915322" y="0"/>
            <a:ext cx="9276678" cy="6858000"/>
          </a:xfrm>
          <a:prstGeom prst="rect">
            <a:avLst/>
          </a:prstGeom>
          <a:solidFill>
            <a:srgbClr val="F1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it-IT" dirty="0" err="1"/>
          </a:p>
        </p:txBody>
      </p:sp>
      <p:pic>
        <p:nvPicPr>
          <p:cNvPr id="7170" name="Picture 2" descr="Figure 23: Emerging roles clustered into the jobs of tomorrow">
            <a:extLst>
              <a:ext uri="{FF2B5EF4-FFF2-40B4-BE49-F238E27FC236}">
                <a16:creationId xmlns:a16="http://schemas.microsoft.com/office/drawing/2014/main" id="{B839A372-1683-3794-7082-8359C8D04B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01" b="18695"/>
          <a:stretch/>
        </p:blipFill>
        <p:spPr bwMode="auto">
          <a:xfrm>
            <a:off x="3981921" y="39878"/>
            <a:ext cx="6452988" cy="6755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Figure 23: Emerging roles clustered into the jobs of tomorrow">
            <a:extLst>
              <a:ext uri="{FF2B5EF4-FFF2-40B4-BE49-F238E27FC236}">
                <a16:creationId xmlns:a16="http://schemas.microsoft.com/office/drawing/2014/main" id="{533BF5E7-8017-4AD9-75C3-EFA353C66E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57" t="83929" r="58165" b="12398"/>
          <a:stretch/>
        </p:blipFill>
        <p:spPr bwMode="auto">
          <a:xfrm>
            <a:off x="3132069" y="6066558"/>
            <a:ext cx="1936242" cy="368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olo 7">
            <a:extLst>
              <a:ext uri="{FF2B5EF4-FFF2-40B4-BE49-F238E27FC236}">
                <a16:creationId xmlns:a16="http://schemas.microsoft.com/office/drawing/2014/main" id="{8FB73AF2-6896-6FD3-2D22-EDF387D27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2651792" cy="990601"/>
          </a:xfrm>
        </p:spPr>
        <p:txBody>
          <a:bodyPr/>
          <a:lstStyle/>
          <a:p>
            <a:r>
              <a:rPr lang="it-IT" dirty="0"/>
              <a:t>Job del Futuro - Dettaglio per Macrocategoria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797912-711B-2403-5F61-57C0CDB736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11" t="94217"/>
          <a:stretch/>
        </p:blipFill>
        <p:spPr bwMode="auto">
          <a:xfrm>
            <a:off x="3153585" y="6383873"/>
            <a:ext cx="2374684" cy="368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9D4349C-BD72-C539-6968-53894246AA0A}"/>
              </a:ext>
            </a:extLst>
          </p:cNvPr>
          <p:cNvSpPr txBox="1">
            <a:spLocks/>
          </p:cNvSpPr>
          <p:nvPr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324661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050516B2-152E-AE68-7FE7-E575F97640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16"/>
          <a:stretch/>
        </p:blipFill>
        <p:spPr bwMode="auto">
          <a:xfrm>
            <a:off x="877839" y="2162799"/>
            <a:ext cx="6154515" cy="4142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97663811-C518-25D1-3CA8-BB9D410657C2}"/>
              </a:ext>
            </a:extLst>
          </p:cNvPr>
          <p:cNvSpPr txBox="1"/>
          <p:nvPr/>
        </p:nvSpPr>
        <p:spPr>
          <a:xfrm>
            <a:off x="7688861" y="2224354"/>
            <a:ext cx="2716822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it-IT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it-IT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it-IT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Gender </a:t>
            </a:r>
            <a:r>
              <a:rPr lang="en-AU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Mismatching</a:t>
            </a:r>
            <a:r>
              <a:rPr lang="it-IT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 maggiormente rilevante  sui mestieri ad elevato contenuti tecnologico (Cloud, Data e AI)</a:t>
            </a:r>
            <a:endParaRPr lang="it-IT" sz="2000" dirty="0"/>
          </a:p>
        </p:txBody>
      </p:sp>
      <p:sp>
        <p:nvSpPr>
          <p:cNvPr id="2" name="Titolo 7">
            <a:extLst>
              <a:ext uri="{FF2B5EF4-FFF2-40B4-BE49-F238E27FC236}">
                <a16:creationId xmlns:a16="http://schemas.microsoft.com/office/drawing/2014/main" id="{BC42802C-CB1B-0206-4033-DA46930F8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it-IT" dirty="0"/>
              <a:t>Oltre al problema del </a:t>
            </a:r>
            <a:r>
              <a:rPr lang="en-AU" dirty="0"/>
              <a:t>mismatching</a:t>
            </a:r>
            <a:r>
              <a:rPr lang="it-IT" dirty="0"/>
              <a:t> esiste anche un problema di </a:t>
            </a:r>
            <a:r>
              <a:rPr lang="en-AU" dirty="0"/>
              <a:t>inclusion</a:t>
            </a:r>
            <a:r>
              <a:rPr lang="it-IT" dirty="0"/>
              <a:t> 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1EB71CD-EA66-FD91-693B-EDB20902FA64}"/>
              </a:ext>
            </a:extLst>
          </p:cNvPr>
          <p:cNvSpPr txBox="1">
            <a:spLocks/>
          </p:cNvSpPr>
          <p:nvPr/>
        </p:nvSpPr>
        <p:spPr>
          <a:xfrm>
            <a:off x="902145" y="1764767"/>
            <a:ext cx="5817800" cy="5345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 sz="2000" b="1" dirty="0">
                <a:solidFill>
                  <a:srgbClr val="A055F5"/>
                </a:solidFill>
              </a:rPr>
              <a:t>Share of Women in the Job of the Futur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8586A72-2DA5-4CF3-0BBB-F418E21286D0}"/>
              </a:ext>
            </a:extLst>
          </p:cNvPr>
          <p:cNvSpPr txBox="1">
            <a:spLocks/>
          </p:cNvSpPr>
          <p:nvPr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674721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D08F366A-9E18-CA0D-A517-DB14EDAEC921}"/>
              </a:ext>
            </a:extLst>
          </p:cNvPr>
          <p:cNvSpPr/>
          <p:nvPr/>
        </p:nvSpPr>
        <p:spPr>
          <a:xfrm>
            <a:off x="3969572" y="0"/>
            <a:ext cx="8222428" cy="6858000"/>
          </a:xfrm>
          <a:prstGeom prst="rect">
            <a:avLst/>
          </a:prstGeom>
          <a:solidFill>
            <a:srgbClr val="F1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it-IT" dirty="0" err="1"/>
          </a:p>
        </p:txBody>
      </p:sp>
      <p:pic>
        <p:nvPicPr>
          <p:cNvPr id="8194" name="Picture 2" descr="Figure 25: Transitions into the ‘jobs of tomorrow’">
            <a:extLst>
              <a:ext uri="{FF2B5EF4-FFF2-40B4-BE49-F238E27FC236}">
                <a16:creationId xmlns:a16="http://schemas.microsoft.com/office/drawing/2014/main" id="{AA1015C8-4B89-D5B5-EBA9-BCCB126C24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32" b="5397"/>
          <a:stretch/>
        </p:blipFill>
        <p:spPr bwMode="auto">
          <a:xfrm>
            <a:off x="5010850" y="88331"/>
            <a:ext cx="5573010" cy="6690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480E393F-4577-6372-267A-B3D529EB575D}"/>
              </a:ext>
            </a:extLst>
          </p:cNvPr>
          <p:cNvSpPr txBox="1"/>
          <p:nvPr/>
        </p:nvSpPr>
        <p:spPr>
          <a:xfrm>
            <a:off x="250373" y="667435"/>
            <a:ext cx="3167742" cy="20313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0000"/>
              </a:lnSpc>
              <a:spcBef>
                <a:spcPct val="0"/>
              </a:spcBef>
              <a:buNone/>
              <a:defRPr sz="3600" b="1"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Non solo mercato del lavoro ma anche aziende che devono «ruotare» la propria </a:t>
            </a:r>
            <a:r>
              <a:rPr lang="en-CA" dirty="0"/>
              <a:t>workforce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AD0ECE2-D1B0-5938-6BED-F13D2409D681}"/>
              </a:ext>
            </a:extLst>
          </p:cNvPr>
          <p:cNvSpPr txBox="1">
            <a:spLocks/>
          </p:cNvSpPr>
          <p:nvPr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2044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A2AD61CE-9FDB-4F62-9AD2-A7DEB3E14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800100"/>
          </a:xfrm>
        </p:spPr>
        <p:txBody>
          <a:bodyPr/>
          <a:lstStyle/>
          <a:p>
            <a:r>
              <a:rPr lang="it-IT" dirty="0"/>
              <a:t>I numeri di tale sfida sono impressionanti, le modalità per affrontarla devono essere nuov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F2E259-8254-4A87-8814-110BCC7B4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A94189-672A-4262-8F27-15A75AB6748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C5FA89E8-7519-1708-CEB6-0677DC847BF2}"/>
              </a:ext>
            </a:extLst>
          </p:cNvPr>
          <p:cNvSpPr/>
          <p:nvPr/>
        </p:nvSpPr>
        <p:spPr>
          <a:xfrm>
            <a:off x="1598713" y="2212055"/>
            <a:ext cx="3827316" cy="16862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800" b="1"/>
              <a:t>Data Driven Competency </a:t>
            </a:r>
            <a:br>
              <a:rPr lang="en-US" sz="2800" b="1"/>
            </a:br>
            <a:r>
              <a:rPr lang="en-US" sz="2800" b="1"/>
              <a:t>and Job Model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F0395F64-692E-E62D-EA5A-33D256495130}"/>
              </a:ext>
            </a:extLst>
          </p:cNvPr>
          <p:cNvSpPr/>
          <p:nvPr/>
        </p:nvSpPr>
        <p:spPr>
          <a:xfrm>
            <a:off x="6462966" y="2212055"/>
            <a:ext cx="3827316" cy="16862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800" b="1" dirty="0"/>
              <a:t>New Learning Experience 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DA0A7E60-8274-C20D-69BF-36860A621C99}"/>
              </a:ext>
            </a:extLst>
          </p:cNvPr>
          <p:cNvSpPr txBox="1"/>
          <p:nvPr/>
        </p:nvSpPr>
        <p:spPr>
          <a:xfrm>
            <a:off x="1601660" y="3992213"/>
            <a:ext cx="378736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Supported by AI and </a:t>
            </a:r>
            <a:br>
              <a:rPr lang="en-US" sz="2400" dirty="0"/>
            </a:br>
            <a:r>
              <a:rPr lang="en-US" sz="2400" dirty="0"/>
              <a:t>Data Analytics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C5629B95-096D-3492-741F-393594FF8976}"/>
              </a:ext>
            </a:extLst>
          </p:cNvPr>
          <p:cNvSpPr txBox="1"/>
          <p:nvPr/>
        </p:nvSpPr>
        <p:spPr>
          <a:xfrm>
            <a:off x="6098404" y="3992213"/>
            <a:ext cx="458270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Supported by Digital Communication and Metaverse</a:t>
            </a:r>
          </a:p>
        </p:txBody>
      </p:sp>
    </p:spTree>
    <p:extLst>
      <p:ext uri="{BB962C8B-B14F-4D97-AF65-F5344CB8AC3E}">
        <p14:creationId xmlns:p14="http://schemas.microsoft.com/office/powerpoint/2010/main" val="21266288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0FE7C-C987-49BC-9828-DDF7DE08DA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403" progId="TCLayout.ActiveDocument.1">
                  <p:embed/>
                </p:oleObj>
              </mc:Choice>
              <mc:Fallback>
                <p:oleObj name="think-cell Slide" r:id="rId4" imgW="393" imgH="40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0FE7C-C987-49BC-9828-DDF7DE08D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73DB9ACD-A1DC-400E-A219-E1955AB5856C}"/>
              </a:ext>
            </a:extLst>
          </p:cNvPr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en-AU" b="1" dirty="0"/>
              <a:t>“Data Driven Competency and Job Model”  </a:t>
            </a:r>
            <a:br>
              <a:rPr lang="en-AU" b="1"/>
            </a:br>
            <a:r>
              <a:rPr lang="en-AU" sz="2800" b="1" dirty="0">
                <a:solidFill>
                  <a:srgbClr val="A055F5"/>
                </a:solidFill>
              </a:rPr>
              <a:t>I</a:t>
            </a:r>
            <a:r>
              <a:rPr lang="en-AU" sz="2800">
                <a:solidFill>
                  <a:srgbClr val="A055F5"/>
                </a:solidFill>
              </a:rPr>
              <a:t>l </a:t>
            </a:r>
            <a:r>
              <a:rPr lang="en-AU" sz="2800" dirty="0" err="1">
                <a:solidFill>
                  <a:srgbClr val="A055F5"/>
                </a:solidFill>
              </a:rPr>
              <a:t>modello</a:t>
            </a:r>
            <a:r>
              <a:rPr lang="en-AU" sz="2800" dirty="0">
                <a:solidFill>
                  <a:srgbClr val="A055F5"/>
                </a:solidFill>
              </a:rPr>
              <a:t> del “</a:t>
            </a:r>
            <a:r>
              <a:rPr lang="en-AU" sz="2800" b="1" dirty="0">
                <a:solidFill>
                  <a:srgbClr val="A055F5"/>
                </a:solidFill>
              </a:rPr>
              <a:t>Living Skill Catalogue”</a:t>
            </a:r>
            <a:endParaRPr lang="en-AU" b="1" dirty="0">
              <a:solidFill>
                <a:srgbClr val="A055F5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0C55830-FEBC-45BD-90B4-F8483F117F4F}"/>
              </a:ext>
            </a:extLst>
          </p:cNvPr>
          <p:cNvSpPr/>
          <p:nvPr/>
        </p:nvSpPr>
        <p:spPr bwMode="auto">
          <a:xfrm>
            <a:off x="7989734" y="1499824"/>
            <a:ext cx="3816000" cy="252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old" panose="020B0503030202060203" pitchFamily="34" charset="77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32AE4C4-0F93-4173-8395-C7CA7DD74D86}"/>
              </a:ext>
            </a:extLst>
          </p:cNvPr>
          <p:cNvSpPr/>
          <p:nvPr/>
        </p:nvSpPr>
        <p:spPr bwMode="auto">
          <a:xfrm>
            <a:off x="360313" y="1499824"/>
            <a:ext cx="3816000" cy="2520000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old" panose="020B0503030202060203" pitchFamily="34" charset="77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452AFCF-B510-499C-A2F8-FC7338EE816A}"/>
              </a:ext>
            </a:extLst>
          </p:cNvPr>
          <p:cNvSpPr/>
          <p:nvPr/>
        </p:nvSpPr>
        <p:spPr bwMode="auto">
          <a:xfrm>
            <a:off x="4173884" y="1499824"/>
            <a:ext cx="3816000" cy="252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old" panose="020B0503030202060203" pitchFamily="34" charset="77"/>
              <a:ea typeface="+mn-ea"/>
              <a:cs typeface="+mn-cs"/>
            </a:endParaRPr>
          </a:p>
        </p:txBody>
      </p:sp>
      <p:sp>
        <p:nvSpPr>
          <p:cNvPr id="73" name="TextBox 97">
            <a:extLst>
              <a:ext uri="{FF2B5EF4-FFF2-40B4-BE49-F238E27FC236}">
                <a16:creationId xmlns:a16="http://schemas.microsoft.com/office/drawing/2014/main" id="{89ED638A-EC2B-4B2C-9178-F020D7B152B2}"/>
              </a:ext>
            </a:extLst>
          </p:cNvPr>
          <p:cNvSpPr txBox="1"/>
          <p:nvPr/>
        </p:nvSpPr>
        <p:spPr bwMode="auto">
          <a:xfrm>
            <a:off x="1008065" y="2732971"/>
            <a:ext cx="2520497" cy="784830"/>
          </a:xfrm>
          <a:prstGeom prst="rect">
            <a:avLst/>
          </a:prstGeom>
          <a:noFill/>
        </p:spPr>
        <p:txBody>
          <a:bodyPr wrap="square" lIns="27000" rIns="27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Arial" charset="0"/>
                <a:cs typeface="Arial" charset="0"/>
              </a:rPr>
              <a:t>DATA DRIV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Arial" charset="0"/>
                <a:cs typeface="Arial" charset="0"/>
              </a:rPr>
              <a:t>Leverage </a:t>
            </a:r>
            <a:r>
              <a:rPr lang="en-US" sz="1200" b="1" dirty="0">
                <a:solidFill>
                  <a:srgbClr val="FFFFFF"/>
                </a:solidFill>
                <a:latin typeface="Graphik"/>
                <a:ea typeface="Arial" charset="0"/>
                <a:cs typeface="Arial" charset="0"/>
              </a:rPr>
              <a:t>E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Arial" charset="0"/>
                <a:cs typeface="Arial" charset="0"/>
              </a:rPr>
              <a:t>xternal</a:t>
            </a:r>
            <a:br>
              <a:rPr lang="en-US" sz="1200" b="1" dirty="0">
                <a:solidFill>
                  <a:srgbClr val="FFFFFF"/>
                </a:solidFill>
                <a:latin typeface="Graphik"/>
                <a:ea typeface="Arial" charset="0"/>
                <a:cs typeface="Arial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Arial" charset="0"/>
                <a:cs typeface="Arial" charset="0"/>
              </a:rPr>
              <a:t> data sources </a:t>
            </a:r>
          </a:p>
        </p:txBody>
      </p:sp>
      <p:pic>
        <p:nvPicPr>
          <p:cNvPr id="8" name="Graphic 7" descr="Research">
            <a:extLst>
              <a:ext uri="{FF2B5EF4-FFF2-40B4-BE49-F238E27FC236}">
                <a16:creationId xmlns:a16="http://schemas.microsoft.com/office/drawing/2014/main" id="{BEBE844D-0FF6-43FF-8548-894CC5C123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auto">
          <a:xfrm>
            <a:off x="1797740" y="1733996"/>
            <a:ext cx="941146" cy="914400"/>
          </a:xfrm>
          <a:prstGeom prst="rect">
            <a:avLst/>
          </a:prstGeom>
        </p:spPr>
      </p:pic>
      <p:sp>
        <p:nvSpPr>
          <p:cNvPr id="70" name="TextBox 97">
            <a:extLst>
              <a:ext uri="{FF2B5EF4-FFF2-40B4-BE49-F238E27FC236}">
                <a16:creationId xmlns:a16="http://schemas.microsoft.com/office/drawing/2014/main" id="{B32CDF9D-D50E-4274-AB2C-811FC3F4310C}"/>
              </a:ext>
            </a:extLst>
          </p:cNvPr>
          <p:cNvSpPr txBox="1"/>
          <p:nvPr/>
        </p:nvSpPr>
        <p:spPr bwMode="auto">
          <a:xfrm>
            <a:off x="8603658" y="2732971"/>
            <a:ext cx="2588153" cy="784830"/>
          </a:xfrm>
          <a:prstGeom prst="rect">
            <a:avLst/>
          </a:prstGeom>
          <a:noFill/>
        </p:spPr>
        <p:txBody>
          <a:bodyPr wrap="square" lIns="27000" rIns="27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EDICTIV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nticipate workforce phenomena</a:t>
            </a: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9" name="TextBox 97">
            <a:extLst>
              <a:ext uri="{FF2B5EF4-FFF2-40B4-BE49-F238E27FC236}">
                <a16:creationId xmlns:a16="http://schemas.microsoft.com/office/drawing/2014/main" id="{EB321971-11B8-4E25-B1C1-44995355C289}"/>
              </a:ext>
            </a:extLst>
          </p:cNvPr>
          <p:cNvSpPr txBox="1"/>
          <p:nvPr/>
        </p:nvSpPr>
        <p:spPr bwMode="auto">
          <a:xfrm>
            <a:off x="4451171" y="2732971"/>
            <a:ext cx="3261426" cy="784830"/>
          </a:xfrm>
          <a:prstGeom prst="rect">
            <a:avLst/>
          </a:prstGeom>
          <a:noFill/>
        </p:spPr>
        <p:txBody>
          <a:bodyPr wrap="square" lIns="27000" rIns="27000" rtlCol="0">
            <a:spAutoFit/>
          </a:bodyPr>
          <a:lstStyle/>
          <a:p>
            <a:pPr marL="0" marR="0" lvl="0" indent="0" algn="ctr" defTabSz="68572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STAINABLE</a:t>
            </a:r>
          </a:p>
          <a:p>
            <a:pPr marL="0" marR="0" lvl="0" indent="0" algn="ctr" defTabSz="68572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date contents continuously with a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enewable dynamic approach</a:t>
            </a:r>
          </a:p>
        </p:txBody>
      </p:sp>
      <p:pic>
        <p:nvPicPr>
          <p:cNvPr id="71" name="Graphic 70">
            <a:extLst>
              <a:ext uri="{FF2B5EF4-FFF2-40B4-BE49-F238E27FC236}">
                <a16:creationId xmlns:a16="http://schemas.microsoft.com/office/drawing/2014/main" id="{0E0B3F1B-9871-4627-95D1-931AFD65158B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auto">
          <a:xfrm>
            <a:off x="5637248" y="1780000"/>
            <a:ext cx="889272" cy="788642"/>
          </a:xfrm>
          <a:prstGeom prst="rect">
            <a:avLst/>
          </a:prstGeom>
        </p:spPr>
      </p:pic>
      <p:pic>
        <p:nvPicPr>
          <p:cNvPr id="27" name="Picture 2" descr="Artificial Intelligence Icon 1201446">
            <a:extLst>
              <a:ext uri="{FF2B5EF4-FFF2-40B4-BE49-F238E27FC236}">
                <a16:creationId xmlns:a16="http://schemas.microsoft.com/office/drawing/2014/main" id="{2D50EF25-794D-4FA9-B9F5-4F216CB0C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98033" y="1436053"/>
            <a:ext cx="1199402" cy="1165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E598AFC3-1BF8-49AE-BFA6-03BB5E178FB2}"/>
              </a:ext>
            </a:extLst>
          </p:cNvPr>
          <p:cNvSpPr/>
          <p:nvPr/>
        </p:nvSpPr>
        <p:spPr bwMode="auto">
          <a:xfrm>
            <a:off x="358034" y="4021934"/>
            <a:ext cx="2880000" cy="2314559"/>
          </a:xfrm>
          <a:prstGeom prst="rect">
            <a:avLst/>
          </a:prstGeom>
          <a:solidFill>
            <a:srgbClr val="DEA3FF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old" panose="020B0503030202060203" pitchFamily="34" charset="77"/>
              <a:ea typeface="+mn-ea"/>
              <a:cs typeface="+mn-cs"/>
            </a:endParaRPr>
          </a:p>
        </p:txBody>
      </p:sp>
      <p:sp>
        <p:nvSpPr>
          <p:cNvPr id="90" name="TextBox 97">
            <a:extLst>
              <a:ext uri="{FF2B5EF4-FFF2-40B4-BE49-F238E27FC236}">
                <a16:creationId xmlns:a16="http://schemas.microsoft.com/office/drawing/2014/main" id="{17364414-6A6C-45F7-B145-17388BDFFF09}"/>
              </a:ext>
            </a:extLst>
          </p:cNvPr>
          <p:cNvSpPr txBox="1"/>
          <p:nvPr/>
        </p:nvSpPr>
        <p:spPr bwMode="auto">
          <a:xfrm>
            <a:off x="556121" y="5120776"/>
            <a:ext cx="2483826" cy="784830"/>
          </a:xfrm>
          <a:prstGeom prst="rect">
            <a:avLst/>
          </a:prstGeom>
          <a:noFill/>
        </p:spPr>
        <p:txBody>
          <a:bodyPr wrap="square" lIns="27000" rIns="27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USINESS  RELEVA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ovide roles and skills relevant to business strategy</a:t>
            </a:r>
          </a:p>
        </p:txBody>
      </p:sp>
      <p:pic>
        <p:nvPicPr>
          <p:cNvPr id="72" name="Graphic 71">
            <a:extLst>
              <a:ext uri="{FF2B5EF4-FFF2-40B4-BE49-F238E27FC236}">
                <a16:creationId xmlns:a16="http://schemas.microsoft.com/office/drawing/2014/main" id="{62F628E7-AB7B-4BA3-8B7A-FA9D05F86EA5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auto">
          <a:xfrm>
            <a:off x="1492034" y="4325807"/>
            <a:ext cx="612000" cy="59466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A13B2B09-71BC-4055-875B-F51AB5DF6F0E}"/>
              </a:ext>
            </a:extLst>
          </p:cNvPr>
          <p:cNvSpPr/>
          <p:nvPr/>
        </p:nvSpPr>
        <p:spPr bwMode="auto">
          <a:xfrm>
            <a:off x="8943434" y="4021934"/>
            <a:ext cx="2880000" cy="2314559"/>
          </a:xfrm>
          <a:prstGeom prst="rect">
            <a:avLst/>
          </a:prstGeom>
          <a:solidFill>
            <a:srgbClr val="F3DDFF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old" panose="020B0503030202060203" pitchFamily="34" charset="77"/>
              <a:ea typeface="+mn-ea"/>
              <a:cs typeface="+mn-cs"/>
            </a:endParaRPr>
          </a:p>
        </p:txBody>
      </p:sp>
      <p:sp>
        <p:nvSpPr>
          <p:cNvPr id="74" name="TextBox 97">
            <a:extLst>
              <a:ext uri="{FF2B5EF4-FFF2-40B4-BE49-F238E27FC236}">
                <a16:creationId xmlns:a16="http://schemas.microsoft.com/office/drawing/2014/main" id="{EDA907DA-BF04-4640-ABDD-98E3479A0779}"/>
              </a:ext>
            </a:extLst>
          </p:cNvPr>
          <p:cNvSpPr txBox="1"/>
          <p:nvPr/>
        </p:nvSpPr>
        <p:spPr bwMode="auto">
          <a:xfrm>
            <a:off x="9359474" y="5120776"/>
            <a:ext cx="2047920" cy="969496"/>
          </a:xfrm>
          <a:prstGeom prst="rect">
            <a:avLst/>
          </a:prstGeom>
          <a:noFill/>
        </p:spPr>
        <p:txBody>
          <a:bodyPr wrap="square" lIns="27000" rIns="27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I POWER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I and Data Analytics as core technology to developing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h</a:t>
            </a:r>
            <a:r>
              <a:rPr lang="en-US" sz="1200" b="1" dirty="0">
                <a:solidFill>
                  <a:srgbClr val="000000"/>
                </a:solidFill>
                <a:latin typeface="Graphik"/>
              </a:rPr>
              <a:t>e model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32AA45AB-10DB-4D74-B1B4-DC8A124BB4E7}"/>
              </a:ext>
            </a:extLst>
          </p:cNvPr>
          <p:cNvPicPr preferRelativeResize="0">
            <a:picLocks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 bwMode="auto">
          <a:xfrm>
            <a:off x="10077434" y="4299137"/>
            <a:ext cx="612000" cy="648000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A5A468A7-6D04-43E5-964E-0C3A93C26869}"/>
              </a:ext>
            </a:extLst>
          </p:cNvPr>
          <p:cNvSpPr/>
          <p:nvPr/>
        </p:nvSpPr>
        <p:spPr bwMode="auto">
          <a:xfrm>
            <a:off x="6081634" y="4021934"/>
            <a:ext cx="2880000" cy="2314559"/>
          </a:xfrm>
          <a:prstGeom prst="rect">
            <a:avLst/>
          </a:prstGeom>
          <a:solidFill>
            <a:srgbClr val="ECC9FF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old" panose="020B0503030202060203" pitchFamily="34" charset="77"/>
              <a:ea typeface="+mn-ea"/>
              <a:cs typeface="+mn-cs"/>
            </a:endParaRPr>
          </a:p>
        </p:txBody>
      </p:sp>
      <p:sp>
        <p:nvSpPr>
          <p:cNvPr id="28" name="TextBox 97">
            <a:extLst>
              <a:ext uri="{FF2B5EF4-FFF2-40B4-BE49-F238E27FC236}">
                <a16:creationId xmlns:a16="http://schemas.microsoft.com/office/drawing/2014/main" id="{A40021B2-520A-49F0-AFCE-A045170FA6CA}"/>
              </a:ext>
            </a:extLst>
          </p:cNvPr>
          <p:cNvSpPr txBox="1"/>
          <p:nvPr/>
        </p:nvSpPr>
        <p:spPr bwMode="auto">
          <a:xfrm>
            <a:off x="6208116" y="5120776"/>
            <a:ext cx="2751239" cy="1215717"/>
          </a:xfrm>
          <a:prstGeom prst="rect">
            <a:avLst/>
          </a:prstGeom>
          <a:noFill/>
        </p:spPr>
        <p:txBody>
          <a:bodyPr wrap="square" lIns="27000" rIns="27000" rtlCol="0">
            <a:spAutoFit/>
          </a:bodyPr>
          <a:lstStyle>
            <a:defPPr>
              <a:defRPr lang="it-IT"/>
            </a:defPPr>
            <a:lvl1pPr lvl="0" algn="ctr">
              <a:defRPr b="1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KILL AS THE NEW CURRENC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kill as a common language to get insights form the market and boost the talent strategy </a:t>
            </a:r>
            <a:endParaRPr kumimoji="0" lang="it-I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ED57377-1C54-4092-BDE2-226149AF08DF}"/>
              </a:ext>
            </a:extLst>
          </p:cNvPr>
          <p:cNvPicPr>
            <a:picLocks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 bwMode="auto">
          <a:xfrm>
            <a:off x="7222580" y="4299137"/>
            <a:ext cx="612000" cy="64800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F85EB79D-0F7A-4DE9-8B8A-07C61800ACD1}"/>
              </a:ext>
            </a:extLst>
          </p:cNvPr>
          <p:cNvSpPr>
            <a:spLocks/>
          </p:cNvSpPr>
          <p:nvPr/>
        </p:nvSpPr>
        <p:spPr bwMode="auto">
          <a:xfrm>
            <a:off x="7553348" y="4657992"/>
            <a:ext cx="232818" cy="241637"/>
          </a:xfrm>
          <a:prstGeom prst="ellipse">
            <a:avLst/>
          </a:prstGeom>
          <a:solidFill>
            <a:srgbClr val="F3DDFF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Bold" panose="020B0503030202060203" pitchFamily="34" charset="77"/>
                <a:ea typeface="+mn-ea"/>
                <a:cs typeface="+mn-cs"/>
              </a:rPr>
              <a:t>J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3BA82CA-2A40-41B6-9E38-BDEF6148036F}"/>
              </a:ext>
            </a:extLst>
          </p:cNvPr>
          <p:cNvSpPr>
            <a:spLocks/>
          </p:cNvSpPr>
          <p:nvPr/>
        </p:nvSpPr>
        <p:spPr bwMode="auto">
          <a:xfrm>
            <a:off x="7260148" y="4361283"/>
            <a:ext cx="232818" cy="219670"/>
          </a:xfrm>
          <a:prstGeom prst="ellipse">
            <a:avLst/>
          </a:prstGeom>
          <a:solidFill>
            <a:srgbClr val="F3DDFF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Bold" panose="020B0503030202060203" pitchFamily="34" charset="77"/>
                <a:ea typeface="+mn-ea"/>
                <a:cs typeface="+mn-cs"/>
              </a:rPr>
              <a:t>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888239F-0AEE-4A93-A873-0108ADC73D8F}"/>
              </a:ext>
            </a:extLst>
          </p:cNvPr>
          <p:cNvSpPr/>
          <p:nvPr/>
        </p:nvSpPr>
        <p:spPr bwMode="auto">
          <a:xfrm>
            <a:off x="3219834" y="4021934"/>
            <a:ext cx="2880000" cy="2314559"/>
          </a:xfrm>
          <a:prstGeom prst="rect">
            <a:avLst/>
          </a:prstGeom>
          <a:solidFill>
            <a:srgbClr val="E2B0FF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old" panose="020B0503030202060203" pitchFamily="34" charset="77"/>
              <a:ea typeface="+mn-ea"/>
              <a:cs typeface="+mn-cs"/>
            </a:endParaRPr>
          </a:p>
        </p:txBody>
      </p:sp>
      <p:sp>
        <p:nvSpPr>
          <p:cNvPr id="36" name="TextBox 97">
            <a:extLst>
              <a:ext uri="{FF2B5EF4-FFF2-40B4-BE49-F238E27FC236}">
                <a16:creationId xmlns:a16="http://schemas.microsoft.com/office/drawing/2014/main" id="{320D9E5D-CFE0-478D-AE04-9033E5BD58AE}"/>
              </a:ext>
            </a:extLst>
          </p:cNvPr>
          <p:cNvSpPr txBox="1"/>
          <p:nvPr/>
        </p:nvSpPr>
        <p:spPr bwMode="auto">
          <a:xfrm>
            <a:off x="3509393" y="5120776"/>
            <a:ext cx="2300883" cy="969496"/>
          </a:xfrm>
          <a:prstGeom prst="rect">
            <a:avLst/>
          </a:prstGeom>
          <a:noFill/>
        </p:spPr>
        <p:txBody>
          <a:bodyPr wrap="square" lIns="27000" rIns="27000" rtlCol="0">
            <a:spAutoFit/>
          </a:bodyPr>
          <a:lstStyle>
            <a:defPPr>
              <a:defRPr lang="it-IT"/>
            </a:defPPr>
            <a:lvl1pPr lvl="0" algn="ctr">
              <a:defRPr b="1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ARKET RELAT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et the roles and skills demanded in the real labor market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D3DEBBE-9A2C-47E5-AE48-83BE8436D2B9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 bwMode="auto">
          <a:xfrm>
            <a:off x="4353834" y="4317137"/>
            <a:ext cx="612000" cy="612000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AA84747-C62A-3817-E7BC-D8B6BDC021D7}"/>
              </a:ext>
            </a:extLst>
          </p:cNvPr>
          <p:cNvSpPr txBox="1">
            <a:spLocks/>
          </p:cNvSpPr>
          <p:nvPr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290081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5C8F635-047B-48C1-8112-11898546C8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403" progId="TCLayout.ActiveDocument.1">
                  <p:embed/>
                </p:oleObj>
              </mc:Choice>
              <mc:Fallback>
                <p:oleObj name="think-cell Slide" r:id="rId4" imgW="393" imgH="40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5C8F635-047B-48C1-8112-11898546C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61F9CDA7-BCC6-4438-8A65-63425E1C17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0" y="0"/>
            <a:ext cx="12190480" cy="6858000"/>
          </a:xfrm>
          <a:prstGeom prst="rect">
            <a:avLst/>
          </a:prstGeom>
        </p:spPr>
      </p:pic>
      <p:sp>
        <p:nvSpPr>
          <p:cNvPr id="129" name="Slide Number Placeholder 2">
            <a:extLst>
              <a:ext uri="{FF2B5EF4-FFF2-40B4-BE49-F238E27FC236}">
                <a16:creationId xmlns:a16="http://schemas.microsoft.com/office/drawing/2014/main" id="{F949F967-2913-46A6-B303-DE31D9D007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 flipH="1">
            <a:off x="363064" y="6393634"/>
            <a:ext cx="561476" cy="273402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9B4216-6797-4951-B290-CADE6850FCFC}"/>
              </a:ext>
            </a:extLst>
          </p:cNvPr>
          <p:cNvSpPr/>
          <p:nvPr/>
        </p:nvSpPr>
        <p:spPr bwMode="auto">
          <a:xfrm>
            <a:off x="-129092" y="75305"/>
            <a:ext cx="7531100" cy="1767840"/>
          </a:xfrm>
          <a:prstGeom prst="rect">
            <a:avLst/>
          </a:prstGeom>
          <a:noFill/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432000" rtlCol="0" anchor="ctr"/>
          <a:lstStyle/>
          <a:p>
            <a:r>
              <a:rPr lang="it-IT" sz="2800" b="1" spc="-15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I dati alimentano, </a:t>
            </a:r>
            <a:r>
              <a:rPr lang="it-IT" sz="2800" b="1" spc="-15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come una centrale elettrica</a:t>
            </a:r>
            <a:r>
              <a:rPr lang="it-IT" sz="2800" b="1" spc="-15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, una serie di servizi a supporto della valorizzazione del capitale umano</a:t>
            </a: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C30DA4B7-6B74-C03B-A417-69CC3ADE8BF8}"/>
              </a:ext>
            </a:extLst>
          </p:cNvPr>
          <p:cNvSpPr txBox="1">
            <a:spLocks/>
          </p:cNvSpPr>
          <p:nvPr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 dirty="0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266657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Acc_PPT_IMP_Tmplt_Arial_Fixed-Accessibility_20220110" id="{CA583B9F-0B41-D840-A7C7-3E651F2D53C4}" vid="{48F61398-557F-264C-9F4B-910CD90DBA59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EACC05246F452F4AA943D0567DC5114E" ma:contentTypeVersion="6" ma:contentTypeDescription="Creare un nuovo documento." ma:contentTypeScope="" ma:versionID="95173f683faa01792feea78de3e06c3c">
  <xsd:schema xmlns:xsd="http://www.w3.org/2001/XMLSchema" xmlns:xs="http://www.w3.org/2001/XMLSchema" xmlns:p="http://schemas.microsoft.com/office/2006/metadata/properties" xmlns:ns2="9752382d-1dbe-45c4-a5be-bf971e698b99" xmlns:ns3="324efffe-21b3-44c6-a155-8fc3c3e8edcd" targetNamespace="http://schemas.microsoft.com/office/2006/metadata/properties" ma:root="true" ma:fieldsID="5aacabce45adb5adb1946f5a5d5fd9c7" ns2:_="" ns3:_="">
    <xsd:import namespace="9752382d-1dbe-45c4-a5be-bf971e698b99"/>
    <xsd:import namespace="324efffe-21b3-44c6-a155-8fc3c3e8edc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52382d-1dbe-45c4-a5be-bf971e698b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4efffe-21b3-44c6-a155-8fc3c3e8edc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6BFFC05-B2F6-4CED-BE65-F75B1EB7AD7B}">
  <ds:schemaRefs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f09dec34-126f-4759-b06d-a920de720ce4"/>
    <ds:schemaRef ds:uri="http://schemas.openxmlformats.org/package/2006/metadata/core-properties"/>
    <ds:schemaRef ds:uri="http://schemas.microsoft.com/office/infopath/2007/PartnerControls"/>
    <ds:schemaRef ds:uri="17c09f85-56e7-4417-b5d2-7fa4154de31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9DF755E-6EA5-4844-93F4-3B7F47015FDD}"/>
</file>

<file path=docProps/app.xml><?xml version="1.0" encoding="utf-8"?>
<Properties xmlns="http://schemas.openxmlformats.org/officeDocument/2006/extended-properties" xmlns:vt="http://schemas.openxmlformats.org/officeDocument/2006/docPropsVTypes">
  <Template>Accenture 2020</Template>
  <TotalTime>80</TotalTime>
  <Words>1156</Words>
  <Application>Microsoft Macintosh PowerPoint</Application>
  <PresentationFormat>Widescreen</PresentationFormat>
  <Paragraphs>109</Paragraphs>
  <Slides>11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1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1</vt:i4>
      </vt:variant>
    </vt:vector>
  </HeadingPairs>
  <TitlesOfParts>
    <vt:vector size="24" baseType="lpstr">
      <vt:lpstr>Arial</vt:lpstr>
      <vt:lpstr>Arial Black</vt:lpstr>
      <vt:lpstr>Calibri</vt:lpstr>
      <vt:lpstr>Graphik</vt:lpstr>
      <vt:lpstr>Graphik  </vt:lpstr>
      <vt:lpstr>Graphik Black</vt:lpstr>
      <vt:lpstr>Graphik Bold</vt:lpstr>
      <vt:lpstr>Graphik Light</vt:lpstr>
      <vt:lpstr>Graphik Super</vt:lpstr>
      <vt:lpstr>Palatino Linotype</vt:lpstr>
      <vt:lpstr>System Font</vt:lpstr>
      <vt:lpstr>Accenture 2020</vt:lpstr>
      <vt:lpstr>think-cell Slide</vt:lpstr>
      <vt:lpstr>Rome Technopole</vt:lpstr>
      <vt:lpstr>Mismatching strutturale tra domande e offerta di competenze sul mercato del alvoro</vt:lpstr>
      <vt:lpstr>Mestieri emergenti e mestieri in estinzione</vt:lpstr>
      <vt:lpstr>Job del Futuro - Dettaglio per Macrocategoria </vt:lpstr>
      <vt:lpstr>Oltre al problema del mismatching esiste anche un problema di inclusion </vt:lpstr>
      <vt:lpstr>Presentazione standard di PowerPoint</vt:lpstr>
      <vt:lpstr>I numeri di tale sfida sono impressionanti, le modalità per affrontarla devono essere nuove</vt:lpstr>
      <vt:lpstr>“Data Driven Competency and Job Model”   Il modello del “Living Skill Catalogue”</vt:lpstr>
      <vt:lpstr>Presentazione standard di PowerPoint</vt:lpstr>
      <vt:lpstr>Presentazione standard di PowerPoint</vt:lpstr>
      <vt:lpstr>DIGITAL SKILLS PER ACCELERARE LA DIGITAL FLUENCY Caso Accentur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this template</dc:title>
  <dc:subject>Accenture PowerPoint Template 16x9 Arial</dc:subject>
  <dc:creator>Trombetta, Stefano</dc:creator>
  <cp:lastModifiedBy>Trombetta, Stefano</cp:lastModifiedBy>
  <cp:revision>4</cp:revision>
  <cp:lastPrinted>2020-11-17T04:05:48Z</cp:lastPrinted>
  <dcterms:created xsi:type="dcterms:W3CDTF">2023-04-19T12:54:56Z</dcterms:created>
  <dcterms:modified xsi:type="dcterms:W3CDTF">2023-04-19T14:2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CC05246F452F4AA943D0567DC5114E</vt:lpwstr>
  </property>
</Properties>
</file>